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63"/>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arket Trends by Manufacturer" id="{B47FE503-6AD3-45A6-A31C-E9E18E770434}">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Lst>
        </p14:section>
        <p14:section name="Market Trends by Brands" id="{CE7DFBB2-E1B0-4578-8CF3-4AEFB8796DF9}">
          <p14:sldIdLst>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Lst>
        </p14:section>
        <p14:section name="Market Trends by Sectors" id="{F2CFD362-ECD9-4E80-B5E2-30A19B4AFE01}">
          <p14:sldIdLst>
            <p14:sldId id="2147475206"/>
            <p14:sldId id="2147475207"/>
            <p14:sldId id="2147475208"/>
            <p14:sldId id="2147475209"/>
            <p14:sldId id="2147475210"/>
            <p14:sldId id="2147475211"/>
            <p14:sldId id="2147475212"/>
            <p14:sldId id="2147475213"/>
            <p14:sldId id="2147475214"/>
          </p14:sldIdLst>
        </p14:section>
        <p14:section name="Market Concentration By Manufacturer" id="{C22F5A75-E46C-462A-810B-5C9FEDCB5801}">
          <p14:sldIdLst>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Lst>
        </p14:section>
        <p14:section name="Market Concentration By Brands" id="{AF586438-DA9F-40E0-9903-E7FD2F8C19B9}">
          <p14:sldIdLst>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Lst>
        </p14:section>
        <p14:section name="Market Concentration By Sectors" id="{0D9B4835-B4A2-4441-9045-ACEECBACD842}">
          <p14:sldIdLst>
            <p14:sldId id="2147475251"/>
            <p14:sldId id="2147475252"/>
            <p14:sldId id="2147475253"/>
            <p14:sldId id="2147475254"/>
            <p14:sldId id="2147475255"/>
            <p14:sldId id="2147475256"/>
            <p14:sldId id="2147475257"/>
            <p14:sldId id="2147475258"/>
            <p14:sldId id="2147475259"/>
          </p14:sldIdLst>
        </p14:section>
        <p14:section name="Value Vs AvgPrice By Sectors" id="{2B3B987C-BE7C-4EA9-93A6-64B799776C71}">
          <p14:sldIdLst>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Lst>
        </p14:section>
        <p14:section name="Value Vs AvgPrice By Retailer For Region" id="{8960C89F-7CC9-407E-BCAC-F311960CA4C3}">
          <p14:sldIdLst>
            <p14:sldId id="2147475296"/>
            <p14:sldId id="2147475297"/>
            <p14:sldId id="2147475298"/>
            <p14:sldId id="2147475299"/>
            <p14:sldId id="2147475300"/>
            <p14:sldId id="2147475301"/>
            <p14:sldId id="2147475302"/>
            <p14:sldId id="2147475303"/>
          </p14:sldIdLst>
        </p14:section>
        <p14:section name="Value Vs AvgPrice By Retailer For Channel" id="{D46AB2F4-1247-41C0-B663-804001EB5B6F}">
          <p14:sldIdLst>
            <p14:sldId id="2147475304"/>
            <p14:sldId id="2147475305"/>
            <p14:sldId id="2147475306"/>
            <p14:sldId id="2147475307"/>
            <p14:sldId id="2147475308"/>
            <p14:sldId id="2147475309"/>
            <p14:sldId id="2147475310"/>
            <p14:sldId id="2147475311"/>
          </p14:sldIdLst>
        </p14:section>
        <p14:section name="Value Vs AvgPrice By Channel For Region" id="{B6FF8E68-6CAD-442D-976E-64E1ABFCF9BF}">
          <p14:sldIdLst>
            <p14:sldId id="2147475312"/>
            <p14:sldId id="2147475313"/>
            <p14:sldId id="2147475314"/>
            <p14:sldId id="2147475315"/>
            <p14:sldId id="2147475316"/>
            <p14:sldId id="2147475317"/>
            <p14:sldId id="2147475318"/>
            <p14:sldId id="2147475319"/>
          </p14:sldIdLst>
        </p14:section>
        <p14:section name="Value Vs AvgPrice By AUTOS SCANNING For Region" id="{CFDC077E-E57C-4B49-BDB0-F1E52F2AD424}">
          <p14:sldIdLst>
            <p14:sldId id="2147475320"/>
            <p14:sldId id="2147475321"/>
            <p14:sldId id="2147475322"/>
            <p14:sldId id="2147475323"/>
            <p14:sldId id="2147475324"/>
            <p14:sldId id="2147475325"/>
            <p14:sldId id="2147475326"/>
            <p14:sldId id="214747532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9B9898"/>
    <a:srgbClr val="575555"/>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notesMaster" Target="notesMasters/notesMaster1.xml"/><Relationship Id="rId164" Type="http://schemas.openxmlformats.org/officeDocument/2006/relationships/presProps" Target="presProps.xml"/><Relationship Id="rId165" Type="http://schemas.openxmlformats.org/officeDocument/2006/relationships/viewProps" Target="viewProps.xml"/><Relationship Id="rId166" Type="http://schemas.openxmlformats.org/officeDocument/2006/relationships/theme" Target="theme/theme1.xml"/><Relationship Id="rId167" Type="http://schemas.openxmlformats.org/officeDocument/2006/relationships/tableStyles" Target="tableStyles.xml"/><Relationship Id="rId16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315.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9426</c:v>
                </c:pt>
                <c:pt idx="1">
                  <c:v>0.52983</c:v>
                </c:pt>
                <c:pt idx="2">
                  <c:v>0.18861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28386</c:v>
                </c:pt>
                <c:pt idx="1">
                  <c:v>0.628832</c:v>
                </c:pt>
                <c:pt idx="2">
                  <c:v>0.22663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408</c:v>
                </c:pt>
                <c:pt idx="1">
                  <c:v>0.097568</c:v>
                </c:pt>
                <c:pt idx="2">
                  <c:v>0.03078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4361</c:v>
                </c:pt>
                <c:pt idx="1">
                  <c:v>0.05811</c:v>
                </c:pt>
                <c:pt idx="2">
                  <c:v>0.0233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3643</c:v>
                </c:pt>
                <c:pt idx="1">
                  <c:v>0.031873</c:v>
                </c:pt>
                <c:pt idx="2">
                  <c:v>0.01035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0244</c:v>
                </c:pt>
                <c:pt idx="1">
                  <c:v>0.048771</c:v>
                </c:pt>
                <c:pt idx="2">
                  <c:v>0.01708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6317</c:v>
                </c:pt>
                <c:pt idx="1">
                  <c:v>0.015947</c:v>
                </c:pt>
                <c:pt idx="2">
                  <c:v>0.00520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8688</c:v>
                </c:pt>
                <c:pt idx="1">
                  <c:v>0.009817</c:v>
                </c:pt>
                <c:pt idx="2">
                  <c:v>0.00350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48563</c:v>
                </c:pt>
                <c:pt idx="1">
                  <c:v>0.15451</c:v>
                </c:pt>
                <c:pt idx="2">
                  <c:v>0.0466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84297</c:v>
                </c:pt>
                <c:pt idx="1">
                  <c:v>0.240778</c:v>
                </c:pt>
                <c:pt idx="2">
                  <c:v>0.0911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a:solidFill>
                          <a:srgbClr val="FFFFFF"/>
                        </a:solidFill>
                      </a:rPr>
                      <a:t>646.2</a:t>
                    </a:r>
                  </a:p>
                </c:rich>
              </c:tx>
              <c:showLegendKey val="0"/>
              <c:showVal val="1"/>
              <c:showCatName val="0"/>
              <c:showSerName val="0"/>
              <c:showPercent val="0"/>
              <c:showBubbleSize val="0"/>
            </c:dLbl>
            <c:dLbl>
              <c:idx val="1"/>
              <c:tx>
                <c:rich>
                  <a:bodyPr/>
                  <a:lstStyle/>
                  <a:p>
                    <a:r>
                      <a:rPr>
                        <a:solidFill>
                          <a:srgbClr val="FFFFFF"/>
                        </a:solidFill>
                      </a:rPr>
                      <a:t>619.5</a:t>
                    </a:r>
                  </a:p>
                </c:rich>
              </c:tx>
              <c:showLegendKey val="0"/>
              <c:showVal val="1"/>
              <c:showCatName val="0"/>
              <c:showSerName val="0"/>
              <c:showPercent val="0"/>
              <c:showBubbleSize val="0"/>
            </c:dLbl>
            <c:dLbl>
              <c:idx val="2"/>
              <c:tx>
                <c:rich>
                  <a:bodyPr/>
                  <a:lstStyle/>
                  <a:p>
                    <a:r>
                      <a:rPr>
                        <a:solidFill>
                          <a:srgbClr val="FFFFFF"/>
                        </a:solidFill>
                      </a:rPr>
                      <a:t>21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6.182995</c:v>
                </c:pt>
                <c:pt idx="1">
                  <c:v>619.488903</c:v>
                </c:pt>
                <c:pt idx="2">
                  <c:v>210.67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540.7</a:t>
                    </a:r>
                  </a:p>
                </c:rich>
              </c:tx>
              <c:showLegendKey val="0"/>
              <c:showVal val="1"/>
              <c:showCatName val="0"/>
              <c:showSerName val="0"/>
              <c:showPercent val="0"/>
              <c:showBubbleSize val="0"/>
            </c:dLbl>
            <c:dLbl>
              <c:idx val="1"/>
              <c:tx>
                <c:rich>
                  <a:bodyPr/>
                  <a:lstStyle/>
                  <a:p>
                    <a:r>
                      <a:rPr>
                        <a:solidFill>
                          <a:srgbClr val="FFFFFF"/>
                        </a:solidFill>
                      </a:rPr>
                      <a:t>508.9</a:t>
                    </a:r>
                  </a:p>
                </c:rich>
              </c:tx>
              <c:showLegendKey val="0"/>
              <c:showVal val="1"/>
              <c:showCatName val="0"/>
              <c:showSerName val="0"/>
              <c:showPercent val="0"/>
              <c:showBubbleSize val="0"/>
            </c:dLbl>
            <c:dLbl>
              <c:idx val="2"/>
              <c:tx>
                <c:rich>
                  <a:bodyPr/>
                  <a:lstStyle/>
                  <a:p>
                    <a:r>
                      <a:rPr>
                        <a:solidFill>
                          <a:srgbClr val="FFFFFF"/>
                        </a:solidFill>
                      </a:rPr>
                      <a:t>17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40.686654</c:v>
                </c:pt>
                <c:pt idx="1">
                  <c:v>508.909592</c:v>
                </c:pt>
                <c:pt idx="2">
                  <c:v>179.11535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a:solidFill>
                          <a:srgbClr val="FFFFFF"/>
                        </a:solidFill>
                      </a:rPr>
                      <a:t>99.3</a:t>
                    </a:r>
                  </a:p>
                </c:rich>
              </c:tx>
              <c:showLegendKey val="0"/>
              <c:showVal val="1"/>
              <c:showCatName val="0"/>
              <c:showSerName val="0"/>
              <c:showPercent val="0"/>
              <c:showBubbleSize val="0"/>
            </c:dLbl>
            <c:dLbl>
              <c:idx val="1"/>
              <c:tx>
                <c:rich>
                  <a:bodyPr/>
                  <a:lstStyle/>
                  <a:p>
                    <a:r>
                      <a:rPr>
                        <a:solidFill>
                          <a:srgbClr val="FFFFFF"/>
                        </a:solidFill>
                      </a:rPr>
                      <a:t>108.3</a:t>
                    </a:r>
                  </a:p>
                </c:rich>
              </c:tx>
              <c:showLegendKey val="0"/>
              <c:showVal val="1"/>
              <c:showCatName val="0"/>
              <c:showSerName val="0"/>
              <c:showPercent val="0"/>
              <c:showBubbleSize val="0"/>
            </c:dLbl>
            <c:dLbl>
              <c:idx val="2"/>
              <c:tx>
                <c:rich>
                  <a:bodyPr/>
                  <a:lstStyle/>
                  <a:p>
                    <a:r>
                      <a:rPr>
                        <a:solidFill>
                          <a:srgbClr val="FFFFFF"/>
                        </a:solidFill>
                      </a:rPr>
                      <a:t>3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9.34508</c:v>
                </c:pt>
                <c:pt idx="1">
                  <c:v>108.263356</c:v>
                </c:pt>
                <c:pt idx="2">
                  <c:v>35.81100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a:solidFill>
                          <a:srgbClr val="FFFFFF"/>
                        </a:solidFill>
                      </a:rPr>
                      <a:t>72.6</a:t>
                    </a:r>
                  </a:p>
                </c:rich>
              </c:tx>
              <c:showLegendKey val="0"/>
              <c:showVal val="1"/>
              <c:showCatName val="0"/>
              <c:showSerName val="0"/>
              <c:showPercent val="0"/>
              <c:showBubbleSize val="0"/>
            </c:dLbl>
            <c:dLbl>
              <c:idx val="1"/>
              <c:tx>
                <c:rich>
                  <a:bodyPr/>
                  <a:lstStyle/>
                  <a:p>
                    <a:r>
                      <a:rPr>
                        <a:solidFill>
                          <a:srgbClr val="FFFFFF"/>
                        </a:solidFill>
                      </a:rPr>
                      <a:t>101.3</a:t>
                    </a:r>
                  </a:p>
                </c:rich>
              </c:tx>
              <c:showLegendKey val="0"/>
              <c:showVal val="1"/>
              <c:showCatName val="0"/>
              <c:showSerName val="0"/>
              <c:showPercent val="0"/>
              <c:showBubbleSize val="0"/>
            </c:dLbl>
            <c:dLbl>
              <c:idx val="2"/>
              <c:tx>
                <c:rich>
                  <a:bodyPr/>
                  <a:lstStyle/>
                  <a:p>
                    <a:r>
                      <a:rPr>
                        <a:solidFill>
                          <a:srgbClr val="FFFFFF"/>
                        </a:solidFill>
                      </a:rPr>
                      <a:t>4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72.591547</c:v>
                </c:pt>
                <c:pt idx="1">
                  <c:v>101.270959</c:v>
                </c:pt>
                <c:pt idx="2">
                  <c:v>44.10437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J&amp;J</c:v>
                </c:pt>
              </c:strCache>
            </c:strRef>
          </c:tx>
          <c:spPr>
            <a:solidFill>
              <a:srgbClr val="575555"/>
            </a:solidFill>
            <a:ln>
              <a:solidFill>
                <a:schemeClr val="bg1"/>
              </a:solidFill>
            </a:ln>
            <a:effectLst/>
          </c:spPr>
          <c:invertIfNegative val="0"/>
          <c:dLbls>
            <c:dLbl>
              <c:idx val="0"/>
              <c:tx>
                <c:rich>
                  <a:bodyPr/>
                  <a:lstStyle/>
                  <a:p>
                    <a:r>
                      <a:rPr>
                        <a:solidFill>
                          <a:srgbClr val="FFFFFF"/>
                        </a:solidFill>
                      </a:rPr>
                      <a:t>64.3</a:t>
                    </a:r>
                  </a:p>
                </c:rich>
              </c:tx>
              <c:showLegendKey val="0"/>
              <c:showVal val="1"/>
              <c:showCatName val="0"/>
              <c:showSerName val="0"/>
              <c:showPercent val="0"/>
              <c:showBubbleSize val="0"/>
            </c:dLbl>
            <c:dLbl>
              <c:idx val="1"/>
              <c:tx>
                <c:rich>
                  <a:bodyPr/>
                  <a:lstStyle/>
                  <a:p>
                    <a:r>
                      <a:rPr>
                        <a:solidFill>
                          <a:srgbClr val="FFFFFF"/>
                        </a:solidFill>
                      </a:rPr>
                      <a:t>103.1</a:t>
                    </a:r>
                  </a:p>
                </c:rich>
              </c:tx>
              <c:showLegendKey val="0"/>
              <c:showVal val="1"/>
              <c:showCatName val="0"/>
              <c:showSerName val="0"/>
              <c:showPercent val="0"/>
              <c:showBubbleSize val="0"/>
            </c:dLbl>
            <c:dLbl>
              <c:idx val="2"/>
              <c:tx>
                <c:rich>
                  <a:bodyPr/>
                  <a:lstStyle/>
                  <a:p>
                    <a:r>
                      <a:rPr>
                        <a:solidFill>
                          <a:srgbClr val="FFFFFF"/>
                        </a:solidFill>
                      </a:rPr>
                      <a:t>3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64.32349</c:v>
                </c:pt>
                <c:pt idx="1">
                  <c:v>103.078082</c:v>
                </c:pt>
                <c:pt idx="2">
                  <c:v>35.18117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a:solidFill>
                          <a:srgbClr val="FFFFFF"/>
                        </a:solidFill>
                      </a:rPr>
                      <a:t>96.1</a:t>
                    </a:r>
                  </a:p>
                </c:rich>
              </c:tx>
              <c:showLegendKey val="0"/>
              <c:showVal val="1"/>
              <c:showCatName val="0"/>
              <c:showSerName val="0"/>
              <c:showPercent val="0"/>
              <c:showBubbleSize val="0"/>
            </c:dLbl>
            <c:dLbl>
              <c:idx val="1"/>
              <c:tx>
                <c:rich>
                  <a:bodyPr/>
                  <a:lstStyle/>
                  <a:p>
                    <a:r>
                      <a:rPr>
                        <a:solidFill>
                          <a:srgbClr val="FFFFFF"/>
                        </a:solidFill>
                      </a:rPr>
                      <a:t>68.6</a:t>
                    </a:r>
                  </a:p>
                </c:rich>
              </c:tx>
              <c:showLegendKey val="0"/>
              <c:showVal val="1"/>
              <c:showCatName val="0"/>
              <c:showSerName val="0"/>
              <c:showPercent val="0"/>
              <c:showBubbleSize val="0"/>
            </c:dLbl>
            <c:dLbl>
              <c:idx val="2"/>
              <c:tx>
                <c:rich>
                  <a:bodyPr/>
                  <a:lstStyle/>
                  <a:p>
                    <a:r>
                      <a:rPr>
                        <a:solidFill>
                          <a:srgbClr val="FFFFFF"/>
                        </a:solidFill>
                      </a:rPr>
                      <a:t>2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96.061581</c:v>
                </c:pt>
                <c:pt idx="1">
                  <c:v>68.626133</c:v>
                </c:pt>
                <c:pt idx="2">
                  <c:v>22.51709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ierre Fabre</c:v>
                </c:pt>
              </c:strCache>
            </c:strRef>
          </c:tx>
          <c:spPr>
            <a:solidFill>
              <a:srgbClr val="575555"/>
            </a:solidFill>
            <a:ln>
              <a:solidFill>
                <a:schemeClr val="bg1"/>
              </a:solidFill>
            </a:ln>
            <a:effectLst/>
          </c:spPr>
          <c:invertIfNegative val="0"/>
          <c:dLbls>
            <c:dLbl>
              <c:idx val="0"/>
              <c:tx>
                <c:rich>
                  <a:bodyPr/>
                  <a:lstStyle/>
                  <a:p>
                    <a:r>
                      <a:rPr>
                        <a:solidFill>
                          <a:srgbClr val="FFFFFF"/>
                        </a:solidFill>
                      </a:rPr>
                      <a:t>25.0</a:t>
                    </a:r>
                  </a:p>
                </c:rich>
              </c:tx>
              <c:showLegendKey val="0"/>
              <c:showVal val="1"/>
              <c:showCatName val="0"/>
              <c:showSerName val="0"/>
              <c:showPercent val="0"/>
              <c:showBubbleSize val="0"/>
            </c:dLbl>
            <c:dLbl>
              <c:idx val="1"/>
              <c:tx>
                <c:rich>
                  <a:bodyPr/>
                  <a:lstStyle/>
                  <a:p>
                    <a:r>
                      <a:rPr>
                        <a:solidFill>
                          <a:srgbClr val="FFFFFF"/>
                        </a:solidFill>
                      </a:rPr>
                      <a:t>28.1</a:t>
                    </a:r>
                  </a:p>
                </c:rich>
              </c:tx>
              <c:showLegendKey val="0"/>
              <c:showVal val="1"/>
              <c:showCatName val="0"/>
              <c:showSerName val="0"/>
              <c:showPercent val="0"/>
              <c:showBubbleSize val="0"/>
            </c:dLbl>
            <c:dLbl>
              <c:idx val="2"/>
              <c:tx>
                <c:rich>
                  <a:bodyPr/>
                  <a:lstStyle/>
                  <a:p>
                    <a:r>
                      <a:rPr>
                        <a:solidFill>
                          <a:srgbClr val="FFFFFF"/>
                        </a:solidFill>
                      </a:rPr>
                      <a:t>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97023</c:v>
                </c:pt>
                <c:pt idx="1">
                  <c:v>28.107198</c:v>
                </c:pt>
                <c:pt idx="2">
                  <c:v>8.85308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nds.Lavin De Mexico</c:v>
                </c:pt>
              </c:strCache>
            </c:strRef>
          </c:tx>
          <c:spPr>
            <a:solidFill>
              <a:srgbClr val="575555"/>
            </a:solidFill>
            <a:ln>
              <a:solidFill>
                <a:schemeClr val="bg1"/>
              </a:solidFill>
            </a:ln>
            <a:effectLst/>
          </c:spPr>
          <c:invertIfNegative val="0"/>
          <c:dLbls>
            <c:dLbl>
              <c:idx val="0"/>
              <c:tx>
                <c:rich>
                  <a:bodyPr/>
                  <a:lstStyle/>
                  <a:p>
                    <a:r>
                      <a:rPr>
                        <a:solidFill>
                          <a:srgbClr val="FFFFFF"/>
                        </a:solidFill>
                      </a:rPr>
                      <a:t>18.6</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8.612038</c:v>
                </c:pt>
                <c:pt idx="1">
                  <c:v>28.684107</c:v>
                </c:pt>
                <c:pt idx="2">
                  <c:v>14.26537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18.0</a:t>
                    </a:r>
                  </a:p>
                </c:rich>
              </c:tx>
              <c:showLegendKey val="0"/>
              <c:showVal val="1"/>
              <c:showCatName val="0"/>
              <c:showSerName val="0"/>
              <c:showPercent val="0"/>
              <c:showBubbleSize val="0"/>
            </c:dLbl>
            <c:dLbl>
              <c:idx val="1"/>
              <c:tx>
                <c:rich>
                  <a:bodyPr/>
                  <a:lstStyle/>
                  <a:p>
                    <a:r>
                      <a:rPr>
                        <a:solidFill>
                          <a:srgbClr val="FFFFFF"/>
                        </a:solidFill>
                      </a:rPr>
                      <a:t>127.0</a:t>
                    </a:r>
                  </a:p>
                </c:rich>
              </c:tx>
              <c:showLegendKey val="0"/>
              <c:showVal val="1"/>
              <c:showCatName val="0"/>
              <c:showSerName val="0"/>
              <c:showPercent val="0"/>
              <c:showBubbleSize val="0"/>
            </c:dLbl>
            <c:dLbl>
              <c:idx val="2"/>
              <c:tx>
                <c:rich>
                  <a:bodyPr/>
                  <a:lstStyle/>
                  <a:p>
                    <a:r>
                      <a:rPr>
                        <a:solidFill>
                          <a:srgbClr val="FFFFFF"/>
                        </a:solidFill>
                      </a:rPr>
                      <a:t>4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17.990099</c:v>
                </c:pt>
                <c:pt idx="1">
                  <c:v>126.989739</c:v>
                </c:pt>
                <c:pt idx="2">
                  <c:v>42.26315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69692746819235</c:v>
                </c:pt>
                <c:pt idx="1">
                  <c:v>0.33140527636341494</c:v>
                </c:pt>
                <c:pt idx="2">
                  <c:v>0.333572113880218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0675041146095725</c:v>
                </c:pt>
                <c:pt idx="1">
                  <c:v>0.3954346397774662</c:v>
                </c:pt>
                <c:pt idx="2">
                  <c:v>0.391528548929754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117401417434556</c:v>
                </c:pt>
                <c:pt idx="1">
                  <c:v>0.01550684876733093</c:v>
                </c:pt>
                <c:pt idx="2">
                  <c:v>0.0131656869768055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855441763939649</c:v>
                </c:pt>
                <c:pt idx="1">
                  <c:v>0.012637027599537266</c:v>
                </c:pt>
                <c:pt idx="2">
                  <c:v>0.01858350552255441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J&amp;J</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7206621021720235</c:v>
                </c:pt>
                <c:pt idx="1">
                  <c:v>0.028969018108589744</c:v>
                </c:pt>
                <c:pt idx="2">
                  <c:v>0.02840023067752471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Total Care De Mexic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110050878007462</c:v>
                </c:pt>
                <c:pt idx="1">
                  <c:v>0.10333264571521524</c:v>
                </c:pt>
                <c:pt idx="2">
                  <c:v>0.088378973174686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Pierre Fab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2576793522920413</c:v>
                </c:pt>
                <c:pt idx="1">
                  <c:v>0.0035341147946642048</c:v>
                </c:pt>
                <c:pt idx="2">
                  <c:v>0.003408441452647748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nds.Lavin De Mexic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5518883705038846</c:v>
                </c:pt>
                <c:pt idx="1">
                  <c:v>0.041828688578965975</c:v>
                </c:pt>
                <c:pt idx="2">
                  <c:v>0.05931670834550941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822377781661931</c:v>
                </c:pt>
                <c:pt idx="1">
                  <c:v>0.06735174029481551</c:v>
                </c:pt>
                <c:pt idx="2">
                  <c:v>0.063645791040298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83586609958332</c:v>
                </c:pt>
                <c:pt idx="1">
                  <c:v>0.27708404906191125</c:v>
                </c:pt>
                <c:pt idx="2">
                  <c:v>0.27356539592492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815375090489336</c:v>
                </c:pt>
                <c:pt idx="1">
                  <c:v>0.16877547415138788</c:v>
                </c:pt>
                <c:pt idx="2">
                  <c:v>0.172333301930173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93115115519249</c:v>
                </c:pt>
                <c:pt idx="1">
                  <c:v>0.15972371308302785</c:v>
                </c:pt>
                <c:pt idx="2">
                  <c:v>0.149911337721669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80670019136509</c:v>
                </c:pt>
                <c:pt idx="1">
                  <c:v>0.11824842808872607</c:v>
                </c:pt>
                <c:pt idx="2">
                  <c:v>0.125029439007432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66739538174417</c:v>
                </c:pt>
                <c:pt idx="1">
                  <c:v>0.05683463603804767</c:v>
                </c:pt>
                <c:pt idx="2">
                  <c:v>0.05486880903946505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3958420837386512</c:v>
                </c:pt>
                <c:pt idx="1">
                  <c:v>0.040231014447967936</c:v>
                </c:pt>
                <c:pt idx="2">
                  <c:v>0.04022848015973288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13935045515476</c:v>
                </c:pt>
                <c:pt idx="1">
                  <c:v>0.030320335021894778</c:v>
                </c:pt>
                <c:pt idx="2">
                  <c:v>0.03011184944419916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5450621568465923</c:v>
                </c:pt>
                <c:pt idx="1">
                  <c:v>0.028705356408779175</c:v>
                </c:pt>
                <c:pt idx="2">
                  <c:v>0.0295290057591739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339159686015884</c:v>
                </c:pt>
                <c:pt idx="1">
                  <c:v>0.021745382794441152</c:v>
                </c:pt>
                <c:pt idx="2">
                  <c:v>0.0201093304773495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281442842721626</c:v>
                </c:pt>
                <c:pt idx="1">
                  <c:v>0.09833161090381623</c:v>
                </c:pt>
                <c:pt idx="2">
                  <c:v>0.104313050535877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8157</c:v>
                </c:pt>
                <c:pt idx="1">
                  <c:v>0.157747</c:v>
                </c:pt>
                <c:pt idx="2">
                  <c:v>0.0547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627086722749375</c:v>
                </c:pt>
                <c:pt idx="1">
                  <c:v>0.30544186941856866</c:v>
                </c:pt>
                <c:pt idx="2">
                  <c:v>0.305460320661490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4667336255002934</c:v>
                </c:pt>
                <c:pt idx="1">
                  <c:v>0.3241005443782454</c:v>
                </c:pt>
                <c:pt idx="2">
                  <c:v>0.328930119995966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21641012548033</c:v>
                </c:pt>
                <c:pt idx="1">
                  <c:v>0.05832846107031961</c:v>
                </c:pt>
                <c:pt idx="2">
                  <c:v>0.0517411179456152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350120092880075</c:v>
                </c:pt>
                <c:pt idx="1">
                  <c:v>0.0319745996673709</c:v>
                </c:pt>
                <c:pt idx="2">
                  <c:v>0.0379667910322342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007464822711868</c:v>
                </c:pt>
                <c:pt idx="1">
                  <c:v>0.017344060681495084</c:v>
                </c:pt>
                <c:pt idx="2">
                  <c:v>0.0168498537864273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6990147941156455</c:v>
                </c:pt>
                <c:pt idx="1">
                  <c:v>0.029053035330184</c:v>
                </c:pt>
                <c:pt idx="2">
                  <c:v>0.02869819501865483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075433849939855</c:v>
                </c:pt>
                <c:pt idx="1">
                  <c:v>0.009439635949290204</c:v>
                </c:pt>
                <c:pt idx="2">
                  <c:v>0.00872407650163019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8846956512936905</c:v>
                </c:pt>
                <c:pt idx="1">
                  <c:v>0.005867639445363101</c:v>
                </c:pt>
                <c:pt idx="2">
                  <c:v>0.00588551645322846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705269971381283</c:v>
                </c:pt>
                <c:pt idx="1">
                  <c:v>0.08485330004651068</c:v>
                </c:pt>
                <c:pt idx="2">
                  <c:v>0.0729908238378541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332771718928112</c:v>
                </c:pt>
                <c:pt idx="1">
                  <c:v>0.13359685401265234</c:v>
                </c:pt>
                <c:pt idx="2">
                  <c:v>0.14275318476689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94521629441351</c:v>
                </c:pt>
                <c:pt idx="1">
                  <c:v>0.27957566001237355</c:v>
                </c:pt>
                <c:pt idx="2">
                  <c:v>0.275254898043252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614898256583158</c:v>
                </c:pt>
                <c:pt idx="1">
                  <c:v>0.1785541470313293</c:v>
                </c:pt>
                <c:pt idx="2">
                  <c:v>0.182129404245708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698601475857268</c:v>
                </c:pt>
                <c:pt idx="1">
                  <c:v>0.15557580580681818</c:v>
                </c:pt>
                <c:pt idx="2">
                  <c:v>0.1473279978230607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181083811889861</c:v>
                </c:pt>
                <c:pt idx="1">
                  <c:v>0.12041677139675279</c:v>
                </c:pt>
                <c:pt idx="2">
                  <c:v>0.130161662797096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787575928762264</c:v>
                </c:pt>
                <c:pt idx="1">
                  <c:v>0.0548304629084635</c:v>
                </c:pt>
                <c:pt idx="2">
                  <c:v>0.0517559024792174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704199002743237</c:v>
                </c:pt>
                <c:pt idx="1">
                  <c:v>0.043495154858811044</c:v>
                </c:pt>
                <c:pt idx="2">
                  <c:v>0.0432958534131966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62871955016153</c:v>
                </c:pt>
                <c:pt idx="1">
                  <c:v>0.0315315922490728</c:v>
                </c:pt>
                <c:pt idx="2">
                  <c:v>0.0315737076640989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5254061354292933</c:v>
                </c:pt>
                <c:pt idx="1">
                  <c:v>0.02919709458982144</c:v>
                </c:pt>
                <c:pt idx="2">
                  <c:v>0.02909333532748593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150792216324616</c:v>
                </c:pt>
                <c:pt idx="1">
                  <c:v>0.022637689038501392</c:v>
                </c:pt>
                <c:pt idx="2">
                  <c:v>0.02079106393887728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07195236133559</c:v>
                </c:pt>
                <c:pt idx="1">
                  <c:v>0.08418562210805597</c:v>
                </c:pt>
                <c:pt idx="2">
                  <c:v>0.0886161742680058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06756863180388</c:v>
                </c:pt>
                <c:pt idx="1">
                  <c:v>0.31160619659203453</c:v>
                </c:pt>
                <c:pt idx="2">
                  <c:v>0.31063778935044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19584690074022</c:v>
                </c:pt>
                <c:pt idx="1">
                  <c:v>0.34454060807329556</c:v>
                </c:pt>
                <c:pt idx="2">
                  <c:v>0.3481392131124277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19790193268499</c:v>
                </c:pt>
                <c:pt idx="1">
                  <c:v>0.05890259561710977</c:v>
                </c:pt>
                <c:pt idx="2">
                  <c:v>0.0525382175060171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340218785869268</c:v>
                </c:pt>
                <c:pt idx="1">
                  <c:v>0.032436537789013675</c:v>
                </c:pt>
                <c:pt idx="2">
                  <c:v>0.0395889855905951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7792707179031482</c:v>
                </c:pt>
                <c:pt idx="1">
                  <c:v>0.016993777246237917</c:v>
                </c:pt>
                <c:pt idx="2">
                  <c:v>0.01651937343269480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8102140172525948</c:v>
                </c:pt>
                <c:pt idx="1">
                  <c:v>0.03167304247543334</c:v>
                </c:pt>
                <c:pt idx="2">
                  <c:v>0.03100533467275881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873791645557218</c:v>
                </c:pt>
                <c:pt idx="1">
                  <c:v>0.009258048068169987</c:v>
                </c:pt>
                <c:pt idx="2">
                  <c:v>0.00837638851803649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655137238803518</c:v>
                </c:pt>
                <c:pt idx="1">
                  <c:v>0.0057876148246229905</c:v>
                </c:pt>
                <c:pt idx="2">
                  <c:v>0.005648367201752207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3348406048019784</c:v>
                </c:pt>
                <c:pt idx="1">
                  <c:v>0.08941037339192137</c:v>
                </c:pt>
                <c:pt idx="2">
                  <c:v>0.0764854272126194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699379335705033</c:v>
                </c:pt>
                <c:pt idx="1">
                  <c:v>0.09939120592216086</c:v>
                </c:pt>
                <c:pt idx="2">
                  <c:v>0.111060903402651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6057543993198</c:v>
                </c:pt>
                <c:pt idx="1">
                  <c:v>0.36138600368755563</c:v>
                </c:pt>
                <c:pt idx="2">
                  <c:v>0.29742908210175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930298220725067</c:v>
                </c:pt>
                <c:pt idx="1">
                  <c:v>0.11670903841585317</c:v>
                </c:pt>
                <c:pt idx="2">
                  <c:v>0.092249139546678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ds.Lavin De Mexico</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295853182788959</c:v>
                </c:pt>
                <c:pt idx="1">
                  <c:v>0.05142289685263918</c:v>
                </c:pt>
                <c:pt idx="2">
                  <c:v>0.0221602328173777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Total Care De Mexic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58870058921666</c:v>
                </c:pt>
                <c:pt idx="1">
                  <c:v>0.059353331084020855</c:v>
                </c:pt>
                <c:pt idx="2">
                  <c:v>0.046545303647128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5864630642669496</c:v>
                </c:pt>
                <c:pt idx="1">
                  <c:v>0.069976279629505</c:v>
                </c:pt>
                <c:pt idx="2">
                  <c:v>0.148099815297490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Pierre Fab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7779959383186</c:v>
                </c:pt>
                <c:pt idx="1">
                  <c:v>0.006769871676646555</c:v>
                </c:pt>
                <c:pt idx="2">
                  <c:v>0.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7644961480145696</c:v>
                </c:pt>
                <c:pt idx="1">
                  <c:v>0.3343825786537796</c:v>
                </c:pt>
                <c:pt idx="2">
                  <c:v>0.393516426589567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914211611358648</c:v>
                </c:pt>
                <c:pt idx="1">
                  <c:v>0.2786964510202108</c:v>
                </c:pt>
                <c:pt idx="2">
                  <c:v>0.23808640830706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8087384451685843</c:v>
                </c:pt>
                <c:pt idx="1">
                  <c:v>0.13161202978435355</c:v>
                </c:pt>
                <c:pt idx="2">
                  <c:v>0.102725755609122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ds.Lavin De Mexico</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1202367493516</c:v>
                </c:pt>
                <c:pt idx="1">
                  <c:v>0.07770041582052026</c:v>
                </c:pt>
                <c:pt idx="2">
                  <c:v>0.0381976636380493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Total Care De Mexic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5165924054000132</c:v>
                </c:pt>
                <c:pt idx="1">
                  <c:v>0.13064500531863457</c:v>
                </c:pt>
                <c:pt idx="2">
                  <c:v>0.0995735212312256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2435991221653255</c:v>
                </c:pt>
                <c:pt idx="1">
                  <c:v>0.02069432356638623</c:v>
                </c:pt>
                <c:pt idx="2">
                  <c:v>0.0337474503986649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Pierre Fab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8080069162731927</c:v>
                </c:pt>
                <c:pt idx="1">
                  <c:v>0.0009670244657189827</c:v>
                </c:pt>
                <c:pt idx="2">
                  <c:v>0.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660637095165258</c:v>
                </c:pt>
                <c:pt idx="1">
                  <c:v>0.3596847500241756</c:v>
                </c:pt>
                <c:pt idx="2">
                  <c:v>0.487669200815872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496932428464343</c:v>
                </c:pt>
                <c:pt idx="1">
                  <c:v>0.37385170558441555</c:v>
                </c:pt>
                <c:pt idx="2">
                  <c:v>0.3626801763796909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119710843926077</c:v>
                </c:pt>
                <c:pt idx="1">
                  <c:v>0.2947064814858597</c:v>
                </c:pt>
                <c:pt idx="2">
                  <c:v>0.295106298111021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224589876486054</c:v>
                </c:pt>
                <c:pt idx="1">
                  <c:v>0.06697906347820927</c:v>
                </c:pt>
                <c:pt idx="2">
                  <c:v>0.06341895074299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J&amp;J</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0292948029995175</c:v>
                </c:pt>
                <c:pt idx="1">
                  <c:v>0.06331036033601188</c:v>
                </c:pt>
                <c:pt idx="2">
                  <c:v>0.062259140956375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Ore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057623571981893</c:v>
                </c:pt>
                <c:pt idx="1">
                  <c:v>0.05652828459112578</c:v>
                </c:pt>
                <c:pt idx="2">
                  <c:v>0.0725886812620900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798567935082865</c:v>
                </c:pt>
                <c:pt idx="1">
                  <c:v>0.041977856441662915</c:v>
                </c:pt>
                <c:pt idx="2">
                  <c:v>0.0396756088633910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Inds.Lavin De Mexic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1661604511826226</c:v>
                </c:pt>
                <c:pt idx="1">
                  <c:v>0.0177459183989817</c:v>
                </c:pt>
                <c:pt idx="2">
                  <c:v>0.02526304982672220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Pierre Fab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48676664034791</c:v>
                </c:pt>
                <c:pt idx="1">
                  <c:v>0.014705256597650998</c:v>
                </c:pt>
                <c:pt idx="2">
                  <c:v>0.01355622543789135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542955854194027</c:v>
                </c:pt>
                <c:pt idx="1">
                  <c:v>0.07019507308608222</c:v>
                </c:pt>
                <c:pt idx="2">
                  <c:v>0.0654518684198228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0713529249117</c:v>
                </c:pt>
                <c:pt idx="1">
                  <c:v>0.34175216352743076</c:v>
                </c:pt>
                <c:pt idx="2">
                  <c:v>0.344179574867565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9012995549898005</c:v>
                </c:pt>
                <c:pt idx="1">
                  <c:v>0.380826839487802</c:v>
                </c:pt>
                <c:pt idx="2">
                  <c:v>0.3747485415409374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5520578461088997</c:v>
                </c:pt>
                <c:pt idx="1">
                  <c:v>0.016705172886400124</c:v>
                </c:pt>
                <c:pt idx="2">
                  <c:v>0.0142241668343056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J&amp;J</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892500213027547</c:v>
                </c:pt>
                <c:pt idx="1">
                  <c:v>0.031055918862826486</c:v>
                </c:pt>
                <c:pt idx="2">
                  <c:v>0.03068351997138961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Ore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66916734922431885</c:v>
                </c:pt>
                <c:pt idx="1">
                  <c:v>0.012321337666914673</c:v>
                </c:pt>
                <c:pt idx="2">
                  <c:v>0.01872527325152551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Total Care De Mexic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602845352434514</c:v>
                </c:pt>
                <c:pt idx="1">
                  <c:v>0.10830853271723381</c:v>
                </c:pt>
                <c:pt idx="2">
                  <c:v>0.0942773642683117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Inds.Lavin De Mexic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8055293256330396</c:v>
                </c:pt>
                <c:pt idx="1">
                  <c:v>0.04506108783333986</c:v>
                </c:pt>
                <c:pt idx="2">
                  <c:v>0.0640855852835333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Pierre Fab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334844524670329</c:v>
                </c:pt>
                <c:pt idx="1">
                  <c:v>0.0034303167952382816</c:v>
                </c:pt>
                <c:pt idx="2">
                  <c:v>0.003078969132077158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61957105816434</c:v>
                </c:pt>
                <c:pt idx="1">
                  <c:v>0.06053863022281395</c:v>
                </c:pt>
                <c:pt idx="2">
                  <c:v>0.05599700485035427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73.5</a:t>
                    </a:r>
                  </a:p>
                </c:rich>
              </c:tx>
              <c:showLegendKey val="0"/>
              <c:showVal val="1"/>
              <c:showCatName val="0"/>
              <c:showSerName val="0"/>
              <c:showPercent val="0"/>
              <c:showBubbleSize val="0"/>
            </c:dLbl>
            <c:dLbl>
              <c:idx val="1"/>
              <c:tx>
                <c:rich>
                  <a:bodyPr/>
                  <a:lstStyle/>
                  <a:p>
                    <a:r>
                      <a:rPr>
                        <a:solidFill>
                          <a:srgbClr val="FFFFFF"/>
                        </a:solidFill>
                      </a:rPr>
                      <a:t>169.7</a:t>
                    </a:r>
                  </a:p>
                </c:rich>
              </c:tx>
              <c:showLegendKey val="0"/>
              <c:showVal val="1"/>
              <c:showCatName val="0"/>
              <c:showSerName val="0"/>
              <c:showPercent val="0"/>
              <c:showBubbleSize val="0"/>
            </c:dLbl>
            <c:dLbl>
              <c:idx val="2"/>
              <c:tx>
                <c:rich>
                  <a:bodyPr/>
                  <a:lstStyle/>
                  <a:p>
                    <a:r>
                      <a:rPr>
                        <a:solidFill>
                          <a:srgbClr val="FFFFFF"/>
                        </a:solidFill>
                      </a:rPr>
                      <a:t>5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3.455982</c:v>
                </c:pt>
                <c:pt idx="1">
                  <c:v>169.66822</c:v>
                </c:pt>
                <c:pt idx="2">
                  <c:v>58.5962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52717512419421</c:v>
                </c:pt>
                <c:pt idx="1">
                  <c:v>0.20158918933948178</c:v>
                </c:pt>
                <c:pt idx="2">
                  <c:v>0.201845535687488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315410528720308</c:v>
                </c:pt>
                <c:pt idx="1">
                  <c:v>0.1526956002515195</c:v>
                </c:pt>
                <c:pt idx="2">
                  <c:v>0.1452605497226635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227484209235277</c:v>
                </c:pt>
                <c:pt idx="1">
                  <c:v>0.09223036919117075</c:v>
                </c:pt>
                <c:pt idx="2">
                  <c:v>0.0999871603784171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434281709424814</c:v>
                </c:pt>
                <c:pt idx="1">
                  <c:v>0.09605438477840306</c:v>
                </c:pt>
                <c:pt idx="2">
                  <c:v>0.085995197473327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792403609290198</c:v>
                </c:pt>
                <c:pt idx="1">
                  <c:v>0.08131940671761295</c:v>
                </c:pt>
                <c:pt idx="2">
                  <c:v>0.0798991209173179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669561482738319</c:v>
                </c:pt>
                <c:pt idx="1">
                  <c:v>0.0684803820369818</c:v>
                </c:pt>
                <c:pt idx="2">
                  <c:v>0.0680599833973142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0576975741834</c:v>
                </c:pt>
                <c:pt idx="1">
                  <c:v>0.06290327538660517</c:v>
                </c:pt>
                <c:pt idx="2">
                  <c:v>0.05476197832069555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618885339991323</c:v>
                </c:pt>
                <c:pt idx="1">
                  <c:v>0.003267961609967411</c:v>
                </c:pt>
                <c:pt idx="2">
                  <c:v>0.0028635010613686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106172472557862</c:v>
                </c:pt>
                <c:pt idx="1">
                  <c:v>0.24145943068825762</c:v>
                </c:pt>
                <c:pt idx="2">
                  <c:v>0.2613269730414070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037665722197834</c:v>
                </c:pt>
                <c:pt idx="1">
                  <c:v>0.05494565890563556</c:v>
                </c:pt>
                <c:pt idx="2">
                  <c:v>0.0607786131405172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506857253334</c:v>
                </c:pt>
                <c:pt idx="1">
                  <c:v>0.27445436103689574</c:v>
                </c:pt>
                <c:pt idx="2">
                  <c:v>0.275972375716370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9179399622411094</c:v>
                </c:pt>
                <c:pt idx="1">
                  <c:v>0.05372580719765467</c:v>
                </c:pt>
                <c:pt idx="2">
                  <c:v>0.047854423817939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51256903801548</c:v>
                </c:pt>
                <c:pt idx="1">
                  <c:v>0.18169298405978737</c:v>
                </c:pt>
                <c:pt idx="2">
                  <c:v>0.191751885063581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6818571130517112</c:v>
                </c:pt>
                <c:pt idx="1">
                  <c:v>0.02053208196313289</c:v>
                </c:pt>
                <c:pt idx="2">
                  <c:v>0.0187985643828291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860071732710718</c:v>
                </c:pt>
                <c:pt idx="1">
                  <c:v>0.16264490351512856</c:v>
                </c:pt>
                <c:pt idx="2">
                  <c:v>0.1588598376925671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5405545894498537</c:v>
                </c:pt>
                <c:pt idx="1">
                  <c:v>0.017296463285970103</c:v>
                </c:pt>
                <c:pt idx="2">
                  <c:v>0.01720999709332599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7131273105130608</c:v>
                </c:pt>
                <c:pt idx="1">
                  <c:v>0.017539299881720406</c:v>
                </c:pt>
                <c:pt idx="2">
                  <c:v>0.01609240425462464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4284986275290984</c:v>
                </c:pt>
                <c:pt idx="1">
                  <c:v>0.001927825219323846</c:v>
                </c:pt>
                <c:pt idx="2">
                  <c:v>0.001666285845741100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548352754353469</c:v>
                </c:pt>
                <c:pt idx="1">
                  <c:v>0.2701862738403864</c:v>
                </c:pt>
                <c:pt idx="2">
                  <c:v>0.2717942261330199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221017551609854</c:v>
                </c:pt>
                <c:pt idx="1">
                  <c:v>0.06941272089319815</c:v>
                </c:pt>
                <c:pt idx="2">
                  <c:v>0.070563785950661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026784011216652</c:v>
                </c:pt>
                <c:pt idx="1">
                  <c:v>0.5339501047965192</c:v>
                </c:pt>
                <c:pt idx="2">
                  <c:v>0.560915154725768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9386645169994836</c:v>
                </c:pt>
                <c:pt idx="1">
                  <c:v>0.43697683429220385</c:v>
                </c:pt>
                <c:pt idx="2">
                  <c:v>0.415485631292027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45514717838643</c:v>
                </c:pt>
                <c:pt idx="1">
                  <c:v>0.02907306091127705</c:v>
                </c:pt>
                <c:pt idx="2">
                  <c:v>0.023599213982204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8805</c:v>
                </c:pt>
                <c:pt idx="1">
                  <c:v>0.062481</c:v>
                </c:pt>
                <c:pt idx="2">
                  <c:v>0.0219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941400247747594</c:v>
                </c:pt>
                <c:pt idx="1">
                  <c:v>0.5316890505464199</c:v>
                </c:pt>
                <c:pt idx="2">
                  <c:v>0.552104383987290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294724871557087</c:v>
                </c:pt>
                <c:pt idx="1">
                  <c:v>0.4606482723883524</c:v>
                </c:pt>
                <c:pt idx="2">
                  <c:v>0.442650717815131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1135103668153603</c:v>
                </c:pt>
                <c:pt idx="1">
                  <c:v>0.007662677065227713</c:v>
                </c:pt>
                <c:pt idx="2">
                  <c:v>0.00524489819757730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750917466440035</c:v>
                </c:pt>
                <c:pt idx="1">
                  <c:v>0.20291550277408313</c:v>
                </c:pt>
                <c:pt idx="2">
                  <c:v>0.2025626717420091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06015885983793</c:v>
                </c:pt>
                <c:pt idx="1">
                  <c:v>0.14829418718648088</c:v>
                </c:pt>
                <c:pt idx="2">
                  <c:v>0.1425330050715773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792966957957657</c:v>
                </c:pt>
                <c:pt idx="1">
                  <c:v>0.09790508646942588</c:v>
                </c:pt>
                <c:pt idx="2">
                  <c:v>0.1064850694991764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anana Boat</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958821437838</c:v>
                </c:pt>
                <c:pt idx="1">
                  <c:v>0.08518284120182894</c:v>
                </c:pt>
                <c:pt idx="2">
                  <c:v>0.0836885543258664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 Roche-Posa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510428893630138</c:v>
                </c:pt>
                <c:pt idx="1">
                  <c:v>0.09622090846429504</c:v>
                </c:pt>
                <c:pt idx="2">
                  <c:v>0.0878768122262198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476920409932865</c:v>
                </c:pt>
                <c:pt idx="1">
                  <c:v>0.06886800259991335</c:v>
                </c:pt>
                <c:pt idx="2">
                  <c:v>0.0686792873395550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12082195799223</c:v>
                </c:pt>
                <c:pt idx="1">
                  <c:v>0.06150241519211767</c:v>
                </c:pt>
                <c:pt idx="2">
                  <c:v>0.05161665009837755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7094685306283753</c:v>
                </c:pt>
                <c:pt idx="1">
                  <c:v>0.0035745830787068007</c:v>
                </c:pt>
                <c:pt idx="2">
                  <c:v>0.00302550796444883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0329696219555515</c:v>
                </c:pt>
                <c:pt idx="1">
                  <c:v>0.23553647303314829</c:v>
                </c:pt>
                <c:pt idx="2">
                  <c:v>0.253532441732769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1690940767619157</c:v>
                </c:pt>
                <c:pt idx="1">
                  <c:v>0.04419932863875759</c:v>
                </c:pt>
                <c:pt idx="2">
                  <c:v>0.048661165489328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769925974040516</c:v>
                </c:pt>
                <c:pt idx="1">
                  <c:v>0.27885954586156336</c:v>
                </c:pt>
                <c:pt idx="2">
                  <c:v>0.279353835462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89405664497777</c:v>
                </c:pt>
                <c:pt idx="1">
                  <c:v>0.05405587492757476</c:v>
                </c:pt>
                <c:pt idx="2">
                  <c:v>0.048400414216858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587033698050238</c:v>
                </c:pt>
                <c:pt idx="1">
                  <c:v>0.19397715955847855</c:v>
                </c:pt>
                <c:pt idx="2">
                  <c:v>0.2049203733456268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anana Boat</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196129595824982</c:v>
                </c:pt>
                <c:pt idx="1">
                  <c:v>0.17162731102370404</c:v>
                </c:pt>
                <c:pt idx="2">
                  <c:v>0.166259559842982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 Roche-Posa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432979068907977</c:v>
                </c:pt>
                <c:pt idx="1">
                  <c:v>0.020094713232781166</c:v>
                </c:pt>
                <c:pt idx="2">
                  <c:v>0.01897175137355548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4577290493095764</c:v>
                </c:pt>
                <c:pt idx="1">
                  <c:v>0.01729508708791108</c:v>
                </c:pt>
                <c:pt idx="2">
                  <c:v>0.01718965558762716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6836706124780217</c:v>
                </c:pt>
                <c:pt idx="1">
                  <c:v>0.01709235765147441</c:v>
                </c:pt>
                <c:pt idx="2">
                  <c:v>0.01564150287784387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34381194494529244</c:v>
                </c:pt>
                <c:pt idx="1">
                  <c:v>0.0020260694130890943</c:v>
                </c:pt>
                <c:pt idx="2">
                  <c:v>0.001709848659471770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3733775323933567</c:v>
                </c:pt>
                <c:pt idx="1">
                  <c:v>0.24497188124342356</c:v>
                </c:pt>
                <c:pt idx="2">
                  <c:v>0.2475530586337036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6771975406806803</c:v>
                </c:pt>
                <c:pt idx="1">
                  <c:v>0.04603183158389875</c:v>
                </c:pt>
                <c:pt idx="2">
                  <c:v>0.0455139694979512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29012600388068</c:v>
                </c:pt>
                <c:pt idx="1">
                  <c:v>0.3560948470153311</c:v>
                </c:pt>
                <c:pt idx="2">
                  <c:v>0.29451746335806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23299860428626</c:v>
                </c:pt>
                <c:pt idx="1">
                  <c:v>0.08164831001939056</c:v>
                </c:pt>
                <c:pt idx="2">
                  <c:v>0.0307456915390528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uve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163533279104222</c:v>
                </c:pt>
                <c:pt idx="1">
                  <c:v>0.050475287907022076</c:v>
                </c:pt>
                <c:pt idx="2">
                  <c:v>0.0221594845536554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aribbean Beach</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81354065607301</c:v>
                </c:pt>
                <c:pt idx="1">
                  <c:v>0.05237128434859071</c:v>
                </c:pt>
                <c:pt idx="2">
                  <c:v>0.0324362997878162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535412295940347</c:v>
                </c:pt>
                <c:pt idx="1">
                  <c:v>0.06868677334696427</c:v>
                </c:pt>
                <c:pt idx="2">
                  <c:v>0.148094814550432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awaiian Tropic</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3769100219951876</c:v>
                </c:pt>
                <c:pt idx="1">
                  <c:v>0.046608860443013884</c:v>
                </c:pt>
                <c:pt idx="2">
                  <c:v>0.0615003331177639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ucer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989286649306346</c:v>
                </c:pt>
                <c:pt idx="1">
                  <c:v>0.0</c:v>
                </c:pt>
                <c:pt idx="2">
                  <c:v>0.002935341794556179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1064085063236164</c:v>
                </c:pt>
                <c:pt idx="1">
                  <c:v>0.00019339464297966173</c:v>
                </c:pt>
                <c:pt idx="2">
                  <c:v>0.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0719738229247295</c:v>
                </c:pt>
                <c:pt idx="1">
                  <c:v>0.3439212422767077</c:v>
                </c:pt>
                <c:pt idx="2">
                  <c:v>0.407610571298660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79394705291468</c:v>
                </c:pt>
                <c:pt idx="1">
                  <c:v>0.2694338923376262</c:v>
                </c:pt>
                <c:pt idx="2">
                  <c:v>0.2369738549972186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114578270308804</c:v>
                </c:pt>
                <c:pt idx="1">
                  <c:v>0.08764940239043825</c:v>
                </c:pt>
                <c:pt idx="2">
                  <c:v>0.0252178750231781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uve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70914746767765</c:v>
                </c:pt>
                <c:pt idx="1">
                  <c:v>0.07444640044473269</c:v>
                </c:pt>
                <c:pt idx="2">
                  <c:v>0.0381976636380493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aribbean Beach</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5061080327921972</c:v>
                </c:pt>
                <c:pt idx="1">
                  <c:v>0.10326137311220235</c:v>
                </c:pt>
                <c:pt idx="2">
                  <c:v>0.062302985351381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2118855513431191</c:v>
                </c:pt>
                <c:pt idx="1">
                  <c:v>0.01982766607986658</c:v>
                </c:pt>
                <c:pt idx="2">
                  <c:v>0.0337474503986649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awaiian Tropic</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50332134409125</c:v>
                </c:pt>
                <c:pt idx="1">
                  <c:v>0.06791438895580469</c:v>
                </c:pt>
                <c:pt idx="2">
                  <c:v>0.0775078805859447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ucer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036907423609086</c:v>
                </c:pt>
                <c:pt idx="1">
                  <c:v>0.0</c:v>
                </c:pt>
                <c:pt idx="2">
                  <c:v>0.001112553309846096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5832604257801109</c:v>
                </c:pt>
                <c:pt idx="1">
                  <c:v>0.0001389789678495321</c:v>
                </c:pt>
                <c:pt idx="2">
                  <c:v>0.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9263795729237548</c:v>
                </c:pt>
                <c:pt idx="1">
                  <c:v>0.3773278977114797</c:v>
                </c:pt>
                <c:pt idx="2">
                  <c:v>0.52493973669571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09728761671731</c:v>
                </c:pt>
                <c:pt idx="1">
                  <c:v>0.34039000088170196</c:v>
                </c:pt>
                <c:pt idx="2">
                  <c:v>0.332183090886594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109860452401462</c:v>
                </c:pt>
                <c:pt idx="1">
                  <c:v>0.16059871037079385</c:v>
                </c:pt>
                <c:pt idx="2">
                  <c:v>0.1690715587185966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anana Boat</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979619972923808</c:v>
                </c:pt>
                <c:pt idx="1">
                  <c:v>0.13217253086957584</c:v>
                </c:pt>
                <c:pt idx="2">
                  <c:v>0.1265671395778684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Isdi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107106592378514</c:v>
                </c:pt>
                <c:pt idx="1">
                  <c:v>0.06393185355813043</c:v>
                </c:pt>
                <c:pt idx="2">
                  <c:v>0.060411297642967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Neutrogen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827032346320632</c:v>
                </c:pt>
                <c:pt idx="1">
                  <c:v>0.06086983709868517</c:v>
                </c:pt>
                <c:pt idx="2">
                  <c:v>0.0593488006538528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ribbean Beach</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94867410732309</c:v>
                </c:pt>
                <c:pt idx="1">
                  <c:v>0.04051901432734742</c:v>
                </c:pt>
                <c:pt idx="2">
                  <c:v>0.0379836743987513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 Roche-Posa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7362430314818185</c:v>
                </c:pt>
                <c:pt idx="1">
                  <c:v>0.03050305116355765</c:v>
                </c:pt>
                <c:pt idx="2">
                  <c:v>0.0278952213396867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7962517210792189</c:v>
                </c:pt>
                <c:pt idx="1">
                  <c:v>0.007750881037752763</c:v>
                </c:pt>
                <c:pt idx="2">
                  <c:v>0.00651952804447656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3564753338076885</c:v>
                </c:pt>
                <c:pt idx="1">
                  <c:v>0.163264120692455</c:v>
                </c:pt>
                <c:pt idx="2">
                  <c:v>0.1800196887372058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0276795349712077</c:v>
                </c:pt>
                <c:pt idx="1">
                  <c:v>0.03728967887846483</c:v>
                </c:pt>
                <c:pt idx="2">
                  <c:v>0.030815386773042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31287087837127</c:v>
                </c:pt>
                <c:pt idx="1">
                  <c:v>0.3262681328987102</c:v>
                </c:pt>
                <c:pt idx="2">
                  <c:v>0.32908269478932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934168619507956</c:v>
                </c:pt>
                <c:pt idx="1">
                  <c:v>0.21364173763218852</c:v>
                </c:pt>
                <c:pt idx="2">
                  <c:v>0.2184014461308500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anana Boat</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706943309735786</c:v>
                </c:pt>
                <c:pt idx="1">
                  <c:v>0.17882221012579777</c:v>
                </c:pt>
                <c:pt idx="2">
                  <c:v>0.17060051152482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Isdi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4117401417434556</c:v>
                </c:pt>
                <c:pt idx="1">
                  <c:v>0.01550684876733093</c:v>
                </c:pt>
                <c:pt idx="2">
                  <c:v>0.0131656869768055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Neutrogen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7206621021720235</c:v>
                </c:pt>
                <c:pt idx="1">
                  <c:v>0.028969018108589744</c:v>
                </c:pt>
                <c:pt idx="2">
                  <c:v>0.02840023067752471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ribbean Beach</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04575145306419</c:v>
                </c:pt>
                <c:pt idx="1">
                  <c:v>0.10332446699751094</c:v>
                </c:pt>
                <c:pt idx="2">
                  <c:v>0.0883686288910669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 Roche-Posa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623070918390347</c:v>
                </c:pt>
                <c:pt idx="1">
                  <c:v>0.0045937131105753546</c:v>
                </c:pt>
                <c:pt idx="2">
                  <c:v>0.00441183696374587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3392921685198557</c:v>
                </c:pt>
                <c:pt idx="1">
                  <c:v>0.0029706920194798882</c:v>
                </c:pt>
                <c:pt idx="2">
                  <c:v>0.00252659127407955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471627186714299</c:v>
                </c:pt>
                <c:pt idx="1">
                  <c:v>0.12590318033981662</c:v>
                </c:pt>
                <c:pt idx="2">
                  <c:v>0.1450423727717766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87923808740451</c:v>
                </c:pt>
                <c:pt idx="1">
                  <c:v>0.04691130725897546</c:v>
                </c:pt>
                <c:pt idx="2">
                  <c:v>0.0399961726150607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2%</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29547055921081</c:v>
                </c:pt>
                <c:pt idx="1">
                  <c:v>0.5322784137182556</c:v>
                </c:pt>
                <c:pt idx="2">
                  <c:v>0.568246331657373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7234062530054455</c:v>
                </c:pt>
                <c:pt idx="1">
                  <c:v>0.43810473758727475</c:v>
                </c:pt>
                <c:pt idx="2">
                  <c:v>0.412361688117258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704669107347362</c:v>
                </c:pt>
                <c:pt idx="1">
                  <c:v>0.029616848694469712</c:v>
                </c:pt>
                <c:pt idx="2">
                  <c:v>0.019391980225367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13098559136043</c:v>
                </c:pt>
                <c:pt idx="1">
                  <c:v>0.5408850881474766</c:v>
                </c:pt>
                <c:pt idx="2">
                  <c:v>0.570217895563551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7692765369870393</c:v>
                </c:pt>
                <c:pt idx="1">
                  <c:v>0.45044913690910127</c:v>
                </c:pt>
                <c:pt idx="2">
                  <c:v>0.424923745685010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762490387691755</c:v>
                </c:pt>
                <c:pt idx="1">
                  <c:v>0.008665774943422062</c:v>
                </c:pt>
                <c:pt idx="2">
                  <c:v>0.0048583587514383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anana Boat</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6%</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95635327698836</c:v>
                </c:pt>
                <c:pt idx="1">
                  <c:v>0.4618229184571941</c:v>
                </c:pt>
                <c:pt idx="2">
                  <c:v>0.44401246297988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51%</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4043646723011637</c:v>
                </c:pt>
                <c:pt idx="1">
                  <c:v>0.5096480934445203</c:v>
                </c:pt>
                <c:pt idx="2">
                  <c:v>0.519669809560494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28528988098285607</c:v>
                </c:pt>
                <c:pt idx="2">
                  <c:v>0.0363177274596244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68.7</a:t>
                    </a:r>
                  </a:p>
                </c:rich>
              </c:tx>
              <c:showLegendKey val="0"/>
              <c:showVal val="1"/>
              <c:showCatName val="0"/>
              <c:showSerName val="0"/>
              <c:showPercent val="0"/>
              <c:showBubbleSize val="0"/>
            </c:dLbl>
            <c:dLbl>
              <c:idx val="1"/>
              <c:tx>
                <c:rich>
                  <a:bodyPr/>
                  <a:lstStyle/>
                  <a:p>
                    <a:r>
                      <a:rPr>
                        <a:solidFill>
                          <a:srgbClr val="FFFFFF"/>
                        </a:solidFill>
                      </a:rPr>
                      <a:t>58.3</a:t>
                    </a:r>
                  </a:p>
                </c:rich>
              </c:tx>
              <c:showLegendKey val="0"/>
              <c:showVal val="1"/>
              <c:showCatName val="0"/>
              <c:showSerName val="0"/>
              <c:showPercent val="0"/>
              <c:showBubbleSize val="0"/>
            </c:dLbl>
            <c:dLbl>
              <c:idx val="2"/>
              <c:tx>
                <c:rich>
                  <a:bodyPr/>
                  <a:lstStyle/>
                  <a:p>
                    <a:r>
                      <a:rPr>
                        <a:solidFill>
                          <a:srgbClr val="FFFFFF"/>
                        </a:solidFill>
                      </a:rPr>
                      <a:t>2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8.725801</c:v>
                </c:pt>
                <c:pt idx="1">
                  <c:v>58.263791</c:v>
                </c:pt>
                <c:pt idx="2">
                  <c:v>20.5533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anana Boat</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33545408479252</c:v>
                </c:pt>
                <c:pt idx="1">
                  <c:v>0.5054656615611146</c:v>
                </c:pt>
                <c:pt idx="2">
                  <c:v>0.50459759650400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664545915207476</c:v>
                </c:pt>
                <c:pt idx="1">
                  <c:v>0.48827643603655513</c:v>
                </c:pt>
                <c:pt idx="2">
                  <c:v>0.4878459577567370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06257902402330308</c:v>
                </c:pt>
                <c:pt idx="2">
                  <c:v>0.00755644573925710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75791110061284</c:v>
                </c:pt>
                <c:pt idx="1">
                  <c:v>0.6277945669684127</c:v>
                </c:pt>
                <c:pt idx="2">
                  <c:v>0.62369037495583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376102870575295</c:v>
                </c:pt>
                <c:pt idx="1">
                  <c:v>0.3310941810832123</c:v>
                </c:pt>
                <c:pt idx="2">
                  <c:v>0.3431957791326215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659860288118618</c:v>
                </c:pt>
                <c:pt idx="1">
                  <c:v>0.041111251948374936</c:v>
                </c:pt>
                <c:pt idx="2">
                  <c:v>0.033113845911546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34425632623338</c:v>
                </c:pt>
                <c:pt idx="1">
                  <c:v>0.6376695929768555</c:v>
                </c:pt>
                <c:pt idx="2">
                  <c:v>0.647216993815541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51920626251593</c:v>
                </c:pt>
                <c:pt idx="1">
                  <c:v>0.3546155892524608</c:v>
                </c:pt>
                <c:pt idx="2">
                  <c:v>0.34874966388814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365374112506827</c:v>
                </c:pt>
                <c:pt idx="1">
                  <c:v>0.007714817770683693</c:v>
                </c:pt>
                <c:pt idx="2">
                  <c:v>0.0040333422963162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30082235872029</c:v>
                </c:pt>
                <c:pt idx="1">
                  <c:v>0.5872075739511446</c:v>
                </c:pt>
                <c:pt idx="2">
                  <c:v>0.59738655938184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469917764127972</c:v>
                </c:pt>
                <c:pt idx="1">
                  <c:v>0.40495393463356993</c:v>
                </c:pt>
                <c:pt idx="2">
                  <c:v>0.3900205595901688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07838491415285411</c:v>
                </c:pt>
                <c:pt idx="2">
                  <c:v>0.0125928810279837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900993490921547</c:v>
                </c:pt>
                <c:pt idx="1">
                  <c:v>0.537915577138588</c:v>
                </c:pt>
                <c:pt idx="2">
                  <c:v>0.56490617140646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909900650907845</c:v>
                </c:pt>
                <c:pt idx="1">
                  <c:v>0.461057153530071</c:v>
                </c:pt>
                <c:pt idx="2">
                  <c:v>0.43470690655832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010272693313410535</c:v>
                </c:pt>
                <c:pt idx="2">
                  <c:v>0.000386922035209905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952790866394954</c:v>
                </c:pt>
                <c:pt idx="1">
                  <c:v>0.2071595054173706</c:v>
                </c:pt>
                <c:pt idx="2">
                  <c:v>0.204309000590016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93115115519249</c:v>
                </c:pt>
                <c:pt idx="1">
                  <c:v>0.15972371308302785</c:v>
                </c:pt>
                <c:pt idx="2">
                  <c:v>0.149911337721669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500109168821572</c:v>
                </c:pt>
                <c:pt idx="1">
                  <c:v>0.08697858678656349</c:v>
                </c:pt>
                <c:pt idx="2">
                  <c:v>0.0933340145209872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380225787463097</c:v>
                </c:pt>
                <c:pt idx="1">
                  <c:v>0.09313510767465755</c:v>
                </c:pt>
                <c:pt idx="2">
                  <c:v>0.0862221183971141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246398000699964</c:v>
                </c:pt>
                <c:pt idx="1">
                  <c:v>0.07837841352725658</c:v>
                </c:pt>
                <c:pt idx="2">
                  <c:v>0.0760441060093030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883075233188363</c:v>
                </c:pt>
                <c:pt idx="1">
                  <c:v>0.06992454364454066</c:v>
                </c:pt>
                <c:pt idx="2">
                  <c:v>0.0692563953349096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541864017355645</c:v>
                </c:pt>
                <c:pt idx="1">
                  <c:v>0.05680766072450919</c:v>
                </c:pt>
                <c:pt idx="2">
                  <c:v>0.0548659588032000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884990946377203</c:v>
                </c:pt>
                <c:pt idx="1">
                  <c:v>0.0034183759171645834</c:v>
                </c:pt>
                <c:pt idx="2">
                  <c:v>0.002955181399883029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1083213477040225</c:v>
                </c:pt>
                <c:pt idx="1">
                  <c:v>0.24447409322490948</c:v>
                </c:pt>
                <c:pt idx="2">
                  <c:v>0.263101887222916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902230027589741</c:v>
                </c:pt>
                <c:pt idx="1">
                  <c:v>0.05480598841324892</c:v>
                </c:pt>
                <c:pt idx="2">
                  <c:v>0.05988617870732338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940668887255533</c:v>
                </c:pt>
                <c:pt idx="1">
                  <c:v>0.2873535182521549</c:v>
                </c:pt>
                <c:pt idx="2">
                  <c:v>0.2872138751638600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21641012548033</c:v>
                </c:pt>
                <c:pt idx="1">
                  <c:v>0.05832846107031961</c:v>
                </c:pt>
                <c:pt idx="2">
                  <c:v>0.0517411179456152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464952055638067</c:v>
                </c:pt>
                <c:pt idx="1">
                  <c:v>0.17208892746844387</c:v>
                </c:pt>
                <c:pt idx="2">
                  <c:v>0.182269503546099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8196351718332</c:v>
                </c:pt>
                <c:pt idx="1">
                  <c:v>0.020834155340896998</c:v>
                </c:pt>
                <c:pt idx="2">
                  <c:v>0.01966488521394238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155089368110688</c:v>
                </c:pt>
                <c:pt idx="1">
                  <c:v>0.14991863619678922</c:v>
                </c:pt>
                <c:pt idx="2">
                  <c:v>0.144858996336257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686417835493843</c:v>
                </c:pt>
                <c:pt idx="1">
                  <c:v>0.018088351166413788</c:v>
                </c:pt>
                <c:pt idx="2">
                  <c:v>0.01824644549763033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797372296926061</c:v>
                </c:pt>
                <c:pt idx="1">
                  <c:v>0.017331506384159107</c:v>
                </c:pt>
                <c:pt idx="2">
                  <c:v>0.0168498537864273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47238594831760307</c:v>
                </c:pt>
                <c:pt idx="1">
                  <c:v>0.00209298071301235</c:v>
                </c:pt>
                <c:pt idx="2">
                  <c:v>0.001801620113609626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570465643201269</c:v>
                </c:pt>
                <c:pt idx="1">
                  <c:v>0.27396346340781025</c:v>
                </c:pt>
                <c:pt idx="2">
                  <c:v>0.277353702396558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0534650915219655</c:v>
                </c:pt>
                <c:pt idx="1">
                  <c:v>0.06950716611248411</c:v>
                </c:pt>
                <c:pt idx="2">
                  <c:v>0.070626197438741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520050011133643</c:v>
                </c:pt>
                <c:pt idx="1">
                  <c:v>0.5274500337331962</c:v>
                </c:pt>
                <c:pt idx="2">
                  <c:v>0.556480443735744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010536823030435</c:v>
                </c:pt>
                <c:pt idx="1">
                  <c:v>0.4416332744329151</c:v>
                </c:pt>
                <c:pt idx="2">
                  <c:v>0.41827079626208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7458175856200752</c:v>
                </c:pt>
                <c:pt idx="1">
                  <c:v>0.030916691833888656</c:v>
                </c:pt>
                <c:pt idx="2">
                  <c:v>0.02524876000216821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51898126270252</c:v>
                </c:pt>
                <c:pt idx="1">
                  <c:v>0.5348869075894326</c:v>
                </c:pt>
                <c:pt idx="2">
                  <c:v>0.559239737231584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335461785825428</c:v>
                </c:pt>
                <c:pt idx="1">
                  <c:v>0.4566357291628604</c:v>
                </c:pt>
                <c:pt idx="2">
                  <c:v>0.434931062238724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2640087904319528</c:v>
                </c:pt>
                <c:pt idx="1">
                  <c:v>0.008477363247707093</c:v>
                </c:pt>
                <c:pt idx="2">
                  <c:v>0.00582920052969127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253434315082674</c:v>
                </c:pt>
                <c:pt idx="1">
                  <c:v>0.2091985467242746</c:v>
                </c:pt>
                <c:pt idx="2">
                  <c:v>0.205337565001706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698601475857268</c:v>
                </c:pt>
                <c:pt idx="1">
                  <c:v>0.15557580580681818</c:v>
                </c:pt>
                <c:pt idx="2">
                  <c:v>0.147327997823060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036343382838378</c:v>
                </c:pt>
                <c:pt idx="1">
                  <c:v>0.09275864667780777</c:v>
                </c:pt>
                <c:pt idx="2">
                  <c:v>0.09950422454407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45077478813656</c:v>
                </c:pt>
                <c:pt idx="1">
                  <c:v>0.0929861933474563</c:v>
                </c:pt>
                <c:pt idx="2">
                  <c:v>0.0881564980510828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504580681765824</c:v>
                </c:pt>
                <c:pt idx="1">
                  <c:v>0.08204528873940736</c:v>
                </c:pt>
                <c:pt idx="2">
                  <c:v>0.079497889776212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691781979330837</c:v>
                </c:pt>
                <c:pt idx="1">
                  <c:v>0.07037711328809898</c:v>
                </c:pt>
                <c:pt idx="2">
                  <c:v>0.06991733304154611</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65675351366304</c:v>
                </c:pt>
                <c:pt idx="1">
                  <c:v>0.054809586897795776</c:v>
                </c:pt>
                <c:pt idx="2">
                  <c:v>0.0517527745505442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7395449029225418</c:v>
                </c:pt>
                <c:pt idx="1">
                  <c:v>0.003750104123730115</c:v>
                </c:pt>
                <c:pt idx="2">
                  <c:v>0.003127289925418520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0324853535329898</c:v>
                </c:pt>
                <c:pt idx="1">
                  <c:v>0.23849871439461093</c:v>
                </c:pt>
                <c:pt idx="2">
                  <c:v>0.255378427286351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9777644913578084</c:v>
                </c:pt>
                <c:pt idx="1">
                  <c:v>0.043513440075606376</c:v>
                </c:pt>
                <c:pt idx="2">
                  <c:v>0.0472234246639006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986</c:v>
                </c:pt>
                <c:pt idx="1">
                  <c:v>0.011277</c:v>
                </c:pt>
                <c:pt idx="2">
                  <c:v>0.00371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46254775592868</c:v>
                </c:pt>
                <c:pt idx="1">
                  <c:v>0.2934725155034931</c:v>
                </c:pt>
                <c:pt idx="2">
                  <c:v>0.292284797209613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19790193268499</c:v>
                </c:pt>
                <c:pt idx="1">
                  <c:v>0.05890259561710977</c:v>
                </c:pt>
                <c:pt idx="2">
                  <c:v>0.0525382175060171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541733457271892</c:v>
                </c:pt>
                <c:pt idx="1">
                  <c:v>0.18487732018484063</c:v>
                </c:pt>
                <c:pt idx="2">
                  <c:v>0.1953270731374859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51675992030395</c:v>
                </c:pt>
                <c:pt idx="1">
                  <c:v>0.02047288657289378</c:v>
                </c:pt>
                <c:pt idx="2">
                  <c:v>0.0199905518221352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615976912205986</c:v>
                </c:pt>
                <c:pt idx="1">
                  <c:v>0.15745555843275236</c:v>
                </c:pt>
                <c:pt idx="2">
                  <c:v>0.1509561145208784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6050208758752023</c:v>
                </c:pt>
                <c:pt idx="1">
                  <c:v>0.01813368108854143</c:v>
                </c:pt>
                <c:pt idx="2">
                  <c:v>0.01835299214083386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77815452674425</c:v>
                </c:pt>
                <c:pt idx="1">
                  <c:v>0.016987770727162548</c:v>
                </c:pt>
                <c:pt idx="2">
                  <c:v>0.01651937343269480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3807452064240522</c:v>
                </c:pt>
                <c:pt idx="1">
                  <c:v>0.0022077294557025892</c:v>
                </c:pt>
                <c:pt idx="2">
                  <c:v>0.0018560254540633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3787025766032693</c:v>
                </c:pt>
                <c:pt idx="1">
                  <c:v>0.2474899424175038</c:v>
                </c:pt>
                <c:pt idx="2">
                  <c:v>0.25217485477627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326948513202371</c:v>
                </c:pt>
                <c:pt idx="1">
                  <c:v>0.044049808725737</c:v>
                </c:pt>
                <c:pt idx="2">
                  <c:v>0.0434578837201920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51554360775382</c:v>
                </c:pt>
                <c:pt idx="1">
                  <c:v>0.36138600368755563</c:v>
                </c:pt>
                <c:pt idx="2">
                  <c:v>0.2944936411889308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330455002082248</c:v>
                </c:pt>
                <c:pt idx="1">
                  <c:v>0.08318115256823176</c:v>
                </c:pt>
                <c:pt idx="2">
                  <c:v>0.030746729734934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uve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295853182788959</c:v>
                </c:pt>
                <c:pt idx="1">
                  <c:v>0.05142289685263918</c:v>
                </c:pt>
                <c:pt idx="2">
                  <c:v>0.0221602328173777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aribbean Beach</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58870058921666</c:v>
                </c:pt>
                <c:pt idx="1">
                  <c:v>0.053354488201406716</c:v>
                </c:pt>
                <c:pt idx="2">
                  <c:v>0.0324373950708026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5864630642669496</c:v>
                </c:pt>
                <c:pt idx="1">
                  <c:v>0.069976279629505</c:v>
                </c:pt>
                <c:pt idx="2">
                  <c:v>0.148099815297490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awaiian Tropic</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487604732442019</c:v>
                </c:pt>
                <c:pt idx="1">
                  <c:v>0.033330860467674785</c:v>
                </c:pt>
                <c:pt idx="2">
                  <c:v>0.0615024098117444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ucer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090210791565983</c:v>
                </c:pt>
                <c:pt idx="1">
                  <c:v>0.0</c:v>
                </c:pt>
                <c:pt idx="2">
                  <c:v>0.002935440912826382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1223848620080066</c:v>
                </c:pt>
                <c:pt idx="1">
                  <c:v>0.00019702537994662132</c:v>
                </c:pt>
                <c:pt idx="2">
                  <c:v>0.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0922761073977555</c:v>
                </c:pt>
                <c:pt idx="1">
                  <c:v>0.34715129321304034</c:v>
                </c:pt>
                <c:pt idx="2">
                  <c:v>0.407624335165893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850169581698478</c:v>
                </c:pt>
                <c:pt idx="1">
                  <c:v>0.2786964510202108</c:v>
                </c:pt>
                <c:pt idx="2">
                  <c:v>0.2369738549972186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250182882223847</c:v>
                </c:pt>
                <c:pt idx="1">
                  <c:v>0.09148051445701576</c:v>
                </c:pt>
                <c:pt idx="2">
                  <c:v>0.0252178750231781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uve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1202367493516</c:v>
                </c:pt>
                <c:pt idx="1">
                  <c:v>0.07770041582052026</c:v>
                </c:pt>
                <c:pt idx="2">
                  <c:v>0.0381976636380493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aribbean Beach</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5165924054000132</c:v>
                </c:pt>
                <c:pt idx="1">
                  <c:v>0.10777487670438061</c:v>
                </c:pt>
                <c:pt idx="2">
                  <c:v>0.062302985351381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2435991221653255</c:v>
                </c:pt>
                <c:pt idx="1">
                  <c:v>0.02069432356638623</c:v>
                </c:pt>
                <c:pt idx="2">
                  <c:v>0.0337474503986649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awaiian Tropic</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777349205293609</c:v>
                </c:pt>
                <c:pt idx="1">
                  <c:v>0.03998646165747993</c:v>
                </c:pt>
                <c:pt idx="2">
                  <c:v>0.0775078805859447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ucer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0640420296601717</c:v>
                </c:pt>
                <c:pt idx="1">
                  <c:v>0.0</c:v>
                </c:pt>
                <c:pt idx="2">
                  <c:v>0.001112553309846096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5985236416838465</c:v>
                </c:pt>
                <c:pt idx="1">
                  <c:v>0.0001450536698578474</c:v>
                </c:pt>
                <c:pt idx="2">
                  <c:v>0.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9468644011438452</c:v>
                </c:pt>
                <c:pt idx="1">
                  <c:v>0.3835219031041486</c:v>
                </c:pt>
                <c:pt idx="2">
                  <c:v>0.52493973669571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0585749131091</c:v>
                </c:pt>
                <c:pt idx="1">
                  <c:v>0.3487037919719177</c:v>
                </c:pt>
                <c:pt idx="2">
                  <c:v>0.339802219345012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252032748791276</c:v>
                </c:pt>
                <c:pt idx="1">
                  <c:v>0.15426636798180432</c:v>
                </c:pt>
                <c:pt idx="2">
                  <c:v>0.1623777531894937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anana Boat</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86122214581293</c:v>
                </c:pt>
                <c:pt idx="1">
                  <c:v>0.13231979907319577</c:v>
                </c:pt>
                <c:pt idx="2">
                  <c:v>0.1258844339017015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Isdi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224589876486054</c:v>
                </c:pt>
                <c:pt idx="1">
                  <c:v>0.06697906347820927</c:v>
                </c:pt>
                <c:pt idx="2">
                  <c:v>0.06341895074299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Neutrogen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029287346906118</c:v>
                </c:pt>
                <c:pt idx="1">
                  <c:v>0.06331036033601188</c:v>
                </c:pt>
                <c:pt idx="2">
                  <c:v>0.062259140956375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ribbean Beach</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77699438672081</c:v>
                </c:pt>
                <c:pt idx="1">
                  <c:v>0.04197135919134077</c:v>
                </c:pt>
                <c:pt idx="2">
                  <c:v>0.03967405044104521</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 Roche-Posa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5618490936194293</c:v>
                </c:pt>
                <c:pt idx="1">
                  <c:v>0.02784149220263238</c:v>
                </c:pt>
                <c:pt idx="2">
                  <c:v>0.02500889947706217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8385354465656403</c:v>
                </c:pt>
                <c:pt idx="1">
                  <c:v>0.008120314430859627</c:v>
                </c:pt>
                <c:pt idx="2">
                  <c:v>0.006844111019826128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3151595943897723</c:v>
                </c:pt>
                <c:pt idx="1">
                  <c:v>0.15648745133402833</c:v>
                </c:pt>
                <c:pt idx="2">
                  <c:v>0.174730440926488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5530322318459087</c:v>
                </c:pt>
                <c:pt idx="1">
                  <c:v>0.033855686625760814</c:v>
                </c:pt>
                <c:pt idx="2">
                  <c:v>0.02705507968224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652601631530165</c:v>
                </c:pt>
                <c:pt idx="1">
                  <c:v>0.33667913223949564</c:v>
                </c:pt>
                <c:pt idx="2">
                  <c:v>0.33954994523793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849646026471063</c:v>
                </c:pt>
                <c:pt idx="1">
                  <c:v>0.20428985393742413</c:v>
                </c:pt>
                <c:pt idx="2">
                  <c:v>0.209531951988198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anana Boat</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126047965108697</c:v>
                </c:pt>
                <c:pt idx="1">
                  <c:v>0.17333672710185222</c:v>
                </c:pt>
                <c:pt idx="2">
                  <c:v>0.1624868682804711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Isdi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5520578461088997</c:v>
                </c:pt>
                <c:pt idx="1">
                  <c:v>0.016705172886400124</c:v>
                </c:pt>
                <c:pt idx="2">
                  <c:v>0.0142241668343056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Neutrogen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892500213027547</c:v>
                </c:pt>
                <c:pt idx="1">
                  <c:v>0.031055918862826486</c:v>
                </c:pt>
                <c:pt idx="2">
                  <c:v>0.03068351997138961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ribbean Beach</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53215498667056</c:v>
                </c:pt>
                <c:pt idx="1">
                  <c:v>0.10829972197204057</c:v>
                </c:pt>
                <c:pt idx="2">
                  <c:v>0.0942661883367978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 Roche-Posa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639727811659302</c:v>
                </c:pt>
                <c:pt idx="1">
                  <c:v>0.004358381955593844</c:v>
                </c:pt>
                <c:pt idx="2">
                  <c:v>0.00413230067726144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37301558318247505</c:v>
                </c:pt>
                <c:pt idx="1">
                  <c:v>0.0032002584485256685</c:v>
                </c:pt>
                <c:pt idx="2">
                  <c:v>0.002729721272268043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7996967183323682</c:v>
                </c:pt>
                <c:pt idx="1">
                  <c:v>0.12207483259584133</c:v>
                </c:pt>
                <c:pt idx="2">
                  <c:v>0.1423953374013724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3186961670692452</c:v>
                </c:pt>
                <c:pt idx="1">
                  <c:v>0.04253240396287739</c:v>
                </c:pt>
                <c:pt idx="2">
                  <c:v>0.0358356243992936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2%</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62631565177765</c:v>
                </c:pt>
                <c:pt idx="1">
                  <c:v>0.5233536458501983</c:v>
                </c:pt>
                <c:pt idx="2">
                  <c:v>0.56349974893667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785155719524114</c:v>
                </c:pt>
                <c:pt idx="1">
                  <c:v>0.4447977823978667</c:v>
                </c:pt>
                <c:pt idx="2">
                  <c:v>0.415523577800094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2212715298120905</c:v>
                </c:pt>
                <c:pt idx="1">
                  <c:v>0.03184857175193498</c:v>
                </c:pt>
                <c:pt idx="2">
                  <c:v>0.0209766732632325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57787578988542</c:v>
                </c:pt>
                <c:pt idx="1">
                  <c:v>0.5426129846295021</c:v>
                </c:pt>
                <c:pt idx="2">
                  <c:v>0.580708948233873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7210364105987956</c:v>
                </c:pt>
                <c:pt idx="1">
                  <c:v>0.44758688919476947</c:v>
                </c:pt>
                <c:pt idx="2">
                  <c:v>0.41375434506587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1176010412662445</c:v>
                </c:pt>
                <c:pt idx="1">
                  <c:v>0.009800126175728377</c:v>
                </c:pt>
                <c:pt idx="2">
                  <c:v>0.0055367067002476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anana Boat</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6%</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76994681829414</c:v>
                </c:pt>
                <c:pt idx="1">
                  <c:v>0.45687499435460505</c:v>
                </c:pt>
                <c:pt idx="2">
                  <c:v>0.438805721373298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51%</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4230053181705864</c:v>
                </c:pt>
                <c:pt idx="1">
                  <c:v>0.5136277482736449</c:v>
                </c:pt>
                <c:pt idx="2">
                  <c:v>0.523400119885979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2949725737175007</c:v>
                </c:pt>
                <c:pt idx="2">
                  <c:v>0.0377941587407222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anana Boat</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80436180786997</c:v>
                </c:pt>
                <c:pt idx="1">
                  <c:v>0.4884084574070297</c:v>
                </c:pt>
                <c:pt idx="2">
                  <c:v>0.490055649649165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19563819213004</c:v>
                </c:pt>
                <c:pt idx="1">
                  <c:v>0.5049459514582908</c:v>
                </c:pt>
                <c:pt idx="2">
                  <c:v>0.50191144447132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06645591134679448</c:v>
                </c:pt>
                <c:pt idx="2">
                  <c:v>0.0080329058795064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64050785263585</c:v>
                </c:pt>
                <c:pt idx="1">
                  <c:v>0.6004528526036738</c:v>
                </c:pt>
                <c:pt idx="2">
                  <c:v>0.5796814958439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2361405340087877</c:v>
                </c:pt>
                <c:pt idx="1">
                  <c:v>0.35440739526705867</c:v>
                </c:pt>
                <c:pt idx="2">
                  <c:v>0.382315607490017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998086807276282</c:v>
                </c:pt>
                <c:pt idx="1">
                  <c:v>0.045139752129267616</c:v>
                </c:pt>
                <c:pt idx="2">
                  <c:v>0.038002896666017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1.5</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544759</c:v>
                </c:pt>
                <c:pt idx="1">
                  <c:v>12.480914</c:v>
                </c:pt>
                <c:pt idx="2">
                  <c:v>3.91123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03687659668999</c:v>
                </c:pt>
                <c:pt idx="1">
                  <c:v>0.6005248284214776</c:v>
                </c:pt>
                <c:pt idx="2">
                  <c:v>0.59860273102572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379651227368655</c:v>
                </c:pt>
                <c:pt idx="1">
                  <c:v>0.3906943883730319</c:v>
                </c:pt>
                <c:pt idx="2">
                  <c:v>0.396633852016513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6661112962345886</c:v>
                </c:pt>
                <c:pt idx="1">
                  <c:v>0.008780783205490512</c:v>
                </c:pt>
                <c:pt idx="2">
                  <c:v>0.0047634169577643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404924664411234</c:v>
                </c:pt>
                <c:pt idx="1">
                  <c:v>0.5875444554122479</c:v>
                </c:pt>
                <c:pt idx="2">
                  <c:v>0.597504206553788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459507533558876</c:v>
                </c:pt>
                <c:pt idx="1">
                  <c:v>0.4046069414293072</c:v>
                </c:pt>
                <c:pt idx="2">
                  <c:v>0.389895053380263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07848603158444949</c:v>
                </c:pt>
                <c:pt idx="2">
                  <c:v>0.01260074006594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942576069549305</c:v>
                </c:pt>
                <c:pt idx="1">
                  <c:v>0.5380231689088192</c:v>
                </c:pt>
                <c:pt idx="2">
                  <c:v>0.56490617140646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90574239304507</c:v>
                </c:pt>
                <c:pt idx="1">
                  <c:v>0.460949177877429</c:v>
                </c:pt>
                <c:pt idx="2">
                  <c:v>0.43470690655832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010276532137518685</c:v>
                </c:pt>
                <c:pt idx="2">
                  <c:v>0.000386922035209905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ded Pack</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Tannin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ded Pack</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Tannin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0.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0.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anded Pack</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Tannin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anded Pack</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Tannin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After Su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0.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Tanning</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0.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514</c:v>
                </c:pt>
                <c:pt idx="1">
                  <c:v>0.010708</c:v>
                </c:pt>
                <c:pt idx="2">
                  <c:v>0.0051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After Su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0.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Tanning</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0.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0.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0.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0.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1.4</a:t>
                    </a:r>
                  </a:p>
                </c:rich>
              </c:tx>
              <c:showLegendKey val="0"/>
              <c:showVal val="1"/>
              <c:showCatName val="0"/>
              <c:showSerName val="0"/>
              <c:showPercent val="0"/>
              <c:showBubbleSize val="0"/>
            </c:dLbl>
            <c:dLbl>
              <c:idx val="1"/>
              <c:tx>
                <c:rich>
                  <a:bodyPr/>
                  <a:lstStyle/>
                  <a:p>
                    <a:r>
                      <a:rPr>
                        <a:solidFill>
                          <a:srgbClr val="FFFFFF"/>
                        </a:solidFill>
                      </a:rPr>
                      <a:t>9.9</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393568</c:v>
                </c:pt>
                <c:pt idx="1">
                  <c:v>9.926655</c:v>
                </c:pt>
                <c:pt idx="2">
                  <c:v>4.7330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0.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0.0</c:v>
                </c:pt>
                <c:pt idx="2">
                  <c:v>0.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3929.252437</c:v>
                </c:pt>
                <c:pt idx="1">
                  <c:v>47.666009</c:v>
                </c:pt>
                <c:pt idx="2">
                  <c:v>64.532311</c:v>
                </c:pt>
                <c:pt idx="3">
                  <c:v>47.93957</c:v>
                </c:pt>
                <c:pt idx="4">
                  <c:v>4089.39032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124.76</a:t>
                    </a:r>
                  </a:p>
                </c:rich>
              </c:tx>
              <c:dLblPos val="t"/>
              <c:showLegendKey val="0"/>
              <c:showVal val="1"/>
              <c:showCatName val="0"/>
              <c:showSerName val="0"/>
              <c:showPercent val="0"/>
              <c:showBubbleSize val="0"/>
            </c:dLbl>
            <c:dLbl>
              <c:idx val="2"/>
              <c:tx>
                <c:rich>
                  <a:bodyPr/>
                  <a:lstStyle/>
                  <a:p>
                    <a:r>
                      <a:t>5619.32</a:t>
                    </a:r>
                  </a:p>
                </c:rich>
              </c:tx>
              <c:dLblPos val="t"/>
              <c:showLegendKey val="0"/>
              <c:showVal val="1"/>
              <c:showCatName val="0"/>
              <c:showSerName val="0"/>
              <c:showPercent val="0"/>
              <c:showBubbleSize val="0"/>
            </c:dLbl>
            <c:dLbl>
              <c:idx val="3"/>
              <c:tx>
                <c:rich>
                  <a:bodyPr/>
                  <a:lstStyle/>
                  <a:p>
                    <a:r>
                      <a:t>575.82</a:t>
                    </a:r>
                  </a:p>
                </c:rich>
              </c:tx>
              <c:dLblPos val="t"/>
              <c:showLegendKey val="0"/>
              <c:showVal val="1"/>
              <c:showCatName val="0"/>
              <c:showSerName val="0"/>
              <c:showPercent val="0"/>
              <c:showBubbleSize val="0"/>
            </c:dLbl>
            <c:dLbl>
              <c:idx val="4"/>
              <c:tx>
                <c:rich>
                  <a:bodyPr/>
                  <a:lstStyle/>
                  <a:p>
                    <a:r>
                      <a:t>2338.1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2437.7268</c:v>
                </c:pt>
                <c:pt idx="1">
                  <c:v>1124.7554</c:v>
                </c:pt>
                <c:pt idx="2">
                  <c:v>5619.3235</c:v>
                </c:pt>
                <c:pt idx="3">
                  <c:v>575.823</c:v>
                </c:pt>
                <c:pt idx="4">
                  <c:v>2338.17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973237707304932</c:v>
                </c:pt>
                <c:pt idx="1">
                  <c:v>0.9659836068563787</c:v>
                </c:pt>
                <c:pt idx="2">
                  <c:v>1.1787328445533003</c:v>
                </c:pt>
                <c:pt idx="3">
                  <c:v>0.9200210152033589</c:v>
                </c:pt>
                <c:pt idx="4">
                  <c:v>0.99838753025624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3929.252437</c:v>
                </c:pt>
                <c:pt idx="1">
                  <c:v>47.666009</c:v>
                </c:pt>
                <c:pt idx="2">
                  <c:v>64.532311</c:v>
                </c:pt>
                <c:pt idx="3">
                  <c:v>47.93957</c:v>
                </c:pt>
                <c:pt idx="4">
                  <c:v>4089.39032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124.76</a:t>
                    </a:r>
                  </a:p>
                </c:rich>
              </c:tx>
              <c:dLblPos val="t"/>
              <c:showLegendKey val="0"/>
              <c:showVal val="1"/>
              <c:showCatName val="0"/>
              <c:showSerName val="0"/>
              <c:showPercent val="0"/>
              <c:showBubbleSize val="0"/>
            </c:dLbl>
            <c:dLbl>
              <c:idx val="2"/>
              <c:tx>
                <c:rich>
                  <a:bodyPr/>
                  <a:lstStyle/>
                  <a:p>
                    <a:r>
                      <a:t>5619.32</a:t>
                    </a:r>
                  </a:p>
                </c:rich>
              </c:tx>
              <c:dLblPos val="t"/>
              <c:showLegendKey val="0"/>
              <c:showVal val="1"/>
              <c:showCatName val="0"/>
              <c:showSerName val="0"/>
              <c:showPercent val="0"/>
              <c:showBubbleSize val="0"/>
            </c:dLbl>
            <c:dLbl>
              <c:idx val="3"/>
              <c:tx>
                <c:rich>
                  <a:bodyPr/>
                  <a:lstStyle/>
                  <a:p>
                    <a:r>
                      <a:t>575.82</a:t>
                    </a:r>
                  </a:p>
                </c:rich>
              </c:tx>
              <c:dLblPos val="t"/>
              <c:showLegendKey val="0"/>
              <c:showVal val="1"/>
              <c:showCatName val="0"/>
              <c:showSerName val="0"/>
              <c:showPercent val="0"/>
              <c:showBubbleSize val="0"/>
            </c:dLbl>
            <c:dLbl>
              <c:idx val="4"/>
              <c:tx>
                <c:rich>
                  <a:bodyPr/>
                  <a:lstStyle/>
                  <a:p>
                    <a:r>
                      <a:t>2338.1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2437.7268</c:v>
                </c:pt>
                <c:pt idx="1">
                  <c:v>1124.7554</c:v>
                </c:pt>
                <c:pt idx="2">
                  <c:v>5619.3235</c:v>
                </c:pt>
                <c:pt idx="3">
                  <c:v>575.823</c:v>
                </c:pt>
                <c:pt idx="4">
                  <c:v>2338.17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973237707304932</c:v>
                </c:pt>
                <c:pt idx="1">
                  <c:v>0.9659836068563787</c:v>
                </c:pt>
                <c:pt idx="2">
                  <c:v>1.1787328445533003</c:v>
                </c:pt>
                <c:pt idx="3">
                  <c:v>0.9200210152033589</c:v>
                </c:pt>
                <c:pt idx="4">
                  <c:v>0.99838753025624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3929.252437</c:v>
                </c:pt>
                <c:pt idx="1">
                  <c:v>47.666009</c:v>
                </c:pt>
                <c:pt idx="2">
                  <c:v>64.532311</c:v>
                </c:pt>
                <c:pt idx="3">
                  <c:v>47.93957</c:v>
                </c:pt>
                <c:pt idx="4">
                  <c:v>4089.39032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124.76</a:t>
                    </a:r>
                  </a:p>
                </c:rich>
              </c:tx>
              <c:dLblPos val="t"/>
              <c:showLegendKey val="0"/>
              <c:showVal val="1"/>
              <c:showCatName val="0"/>
              <c:showSerName val="0"/>
              <c:showPercent val="0"/>
              <c:showBubbleSize val="0"/>
            </c:dLbl>
            <c:dLbl>
              <c:idx val="2"/>
              <c:tx>
                <c:rich>
                  <a:bodyPr/>
                  <a:lstStyle/>
                  <a:p>
                    <a:r>
                      <a:t>5619.32</a:t>
                    </a:r>
                  </a:p>
                </c:rich>
              </c:tx>
              <c:dLblPos val="t"/>
              <c:showLegendKey val="0"/>
              <c:showVal val="1"/>
              <c:showCatName val="0"/>
              <c:showSerName val="0"/>
              <c:showPercent val="0"/>
              <c:showBubbleSize val="0"/>
            </c:dLbl>
            <c:dLbl>
              <c:idx val="3"/>
              <c:tx>
                <c:rich>
                  <a:bodyPr/>
                  <a:lstStyle/>
                  <a:p>
                    <a:r>
                      <a:t>575.82</a:t>
                    </a:r>
                  </a:p>
                </c:rich>
              </c:tx>
              <c:dLblPos val="t"/>
              <c:showLegendKey val="0"/>
              <c:showVal val="1"/>
              <c:showCatName val="0"/>
              <c:showSerName val="0"/>
              <c:showPercent val="0"/>
              <c:showBubbleSize val="0"/>
            </c:dLbl>
            <c:dLbl>
              <c:idx val="4"/>
              <c:tx>
                <c:rich>
                  <a:bodyPr/>
                  <a:lstStyle/>
                  <a:p>
                    <a:r>
                      <a:t>2338.1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2437.7268</c:v>
                </c:pt>
                <c:pt idx="1">
                  <c:v>1124.7554</c:v>
                </c:pt>
                <c:pt idx="2">
                  <c:v>5619.3235</c:v>
                </c:pt>
                <c:pt idx="3">
                  <c:v>575.823</c:v>
                </c:pt>
                <c:pt idx="4">
                  <c:v>2338.17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973237707304932</c:v>
                </c:pt>
                <c:pt idx="1">
                  <c:v>0.9659836068563787</c:v>
                </c:pt>
                <c:pt idx="2">
                  <c:v>1.1787328445533003</c:v>
                </c:pt>
                <c:pt idx="3">
                  <c:v>0.9200210152033589</c:v>
                </c:pt>
                <c:pt idx="4">
                  <c:v>0.99838753025624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3929.252437</c:v>
                </c:pt>
                <c:pt idx="1">
                  <c:v>47.666009</c:v>
                </c:pt>
                <c:pt idx="2">
                  <c:v>64.532311</c:v>
                </c:pt>
                <c:pt idx="3">
                  <c:v>47.93957</c:v>
                </c:pt>
                <c:pt idx="4">
                  <c:v>4089.39032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124.76</a:t>
                    </a:r>
                  </a:p>
                </c:rich>
              </c:tx>
              <c:dLblPos val="t"/>
              <c:showLegendKey val="0"/>
              <c:showVal val="1"/>
              <c:showCatName val="0"/>
              <c:showSerName val="0"/>
              <c:showPercent val="0"/>
              <c:showBubbleSize val="0"/>
            </c:dLbl>
            <c:dLbl>
              <c:idx val="2"/>
              <c:tx>
                <c:rich>
                  <a:bodyPr/>
                  <a:lstStyle/>
                  <a:p>
                    <a:r>
                      <a:t>5619.32</a:t>
                    </a:r>
                  </a:p>
                </c:rich>
              </c:tx>
              <c:dLblPos val="t"/>
              <c:showLegendKey val="0"/>
              <c:showVal val="1"/>
              <c:showCatName val="0"/>
              <c:showSerName val="0"/>
              <c:showPercent val="0"/>
              <c:showBubbleSize val="0"/>
            </c:dLbl>
            <c:dLbl>
              <c:idx val="3"/>
              <c:tx>
                <c:rich>
                  <a:bodyPr/>
                  <a:lstStyle/>
                  <a:p>
                    <a:r>
                      <a:t>575.82</a:t>
                    </a:r>
                  </a:p>
                </c:rich>
              </c:tx>
              <c:dLblPos val="t"/>
              <c:showLegendKey val="0"/>
              <c:showVal val="1"/>
              <c:showCatName val="0"/>
              <c:showSerName val="0"/>
              <c:showPercent val="0"/>
              <c:showBubbleSize val="0"/>
            </c:dLbl>
            <c:dLbl>
              <c:idx val="4"/>
              <c:tx>
                <c:rich>
                  <a:bodyPr/>
                  <a:lstStyle/>
                  <a:p>
                    <a:r>
                      <a:t>2338.1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2437.7268</c:v>
                </c:pt>
                <c:pt idx="1">
                  <c:v>1124.7554</c:v>
                </c:pt>
                <c:pt idx="2">
                  <c:v>5619.3235</c:v>
                </c:pt>
                <c:pt idx="3">
                  <c:v>575.823</c:v>
                </c:pt>
                <c:pt idx="4">
                  <c:v>2338.17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973237707304932</c:v>
                </c:pt>
                <c:pt idx="1">
                  <c:v>0.9659836068563787</c:v>
                </c:pt>
                <c:pt idx="2">
                  <c:v>1.1787328445533003</c:v>
                </c:pt>
                <c:pt idx="3">
                  <c:v>0.9200210152033589</c:v>
                </c:pt>
                <c:pt idx="4">
                  <c:v>0.99838753025624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224.461629</c:v>
                </c:pt>
                <c:pt idx="1">
                  <c:v>7.524715</c:v>
                </c:pt>
                <c:pt idx="2">
                  <c:v>0.001597</c:v>
                </c:pt>
                <c:pt idx="3">
                  <c:v>7.767816</c:v>
                </c:pt>
                <c:pt idx="4">
                  <c:v>239.7557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3.84</a:t>
                    </a:r>
                  </a:p>
                </c:rich>
              </c:tx>
              <c:dLblPos val="t"/>
              <c:showLegendKey val="0"/>
              <c:showVal val="1"/>
              <c:showCatName val="0"/>
              <c:showSerName val="0"/>
              <c:showPercent val="0"/>
              <c:showBubbleSize val="0"/>
            </c:dLbl>
            <c:dLbl>
              <c:idx val="1"/>
              <c:tx>
                <c:rich>
                  <a:bodyPr/>
                  <a:lstStyle/>
                  <a:p>
                    <a:r>
                      <a:t>974.07</a:t>
                    </a:r>
                  </a:p>
                </c:rich>
              </c:tx>
              <c:dLblPos val="t"/>
              <c:showLegendKey val="0"/>
              <c:showVal val="1"/>
              <c:showCatName val="0"/>
              <c:showSerName val="0"/>
              <c:showPercent val="0"/>
              <c:showBubbleSize val="0"/>
            </c:dLbl>
            <c:dLbl>
              <c:idx val="2"/>
              <c:tx>
                <c:rich>
                  <a:bodyPr/>
                  <a:lstStyle/>
                  <a:p>
                    <a:r>
                      <a:t>399.25</a:t>
                    </a:r>
                  </a:p>
                </c:rich>
              </c:tx>
              <c:dLblPos val="t"/>
              <c:showLegendKey val="0"/>
              <c:showVal val="1"/>
              <c:showCatName val="0"/>
              <c:showSerName val="0"/>
              <c:showPercent val="0"/>
              <c:showBubbleSize val="0"/>
            </c:dLbl>
            <c:dLbl>
              <c:idx val="3"/>
              <c:tx>
                <c:rich>
                  <a:bodyPr/>
                  <a:lstStyle/>
                  <a:p>
                    <a:r>
                      <a:t>494.67</a:t>
                    </a:r>
                  </a:p>
                </c:rich>
              </c:tx>
              <c:dLblPos val="t"/>
              <c:showLegendKey val="0"/>
              <c:showVal val="1"/>
              <c:showCatName val="0"/>
              <c:showSerName val="0"/>
              <c:showPercent val="0"/>
              <c:showBubbleSize val="0"/>
            </c:dLbl>
            <c:dLbl>
              <c:idx val="4"/>
              <c:tx>
                <c:rich>
                  <a:bodyPr/>
                  <a:lstStyle/>
                  <a:p>
                    <a:r>
                      <a:t>1040.0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083.8373</c:v>
                </c:pt>
                <c:pt idx="1">
                  <c:v>974.0731</c:v>
                </c:pt>
                <c:pt idx="2">
                  <c:v>399.25</c:v>
                </c:pt>
                <c:pt idx="3">
                  <c:v>494.6708</c:v>
                </c:pt>
                <c:pt idx="4">
                  <c:v>1040.01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4613</c:v>
                </c:pt>
                <c:pt idx="1">
                  <c:v>0.510923</c:v>
                </c:pt>
                <c:pt idx="2">
                  <c:v>0.1817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16457</c:v>
                </c:pt>
                <c:pt idx="1">
                  <c:v>0.542134</c:v>
                </c:pt>
                <c:pt idx="2">
                  <c:v>0.1957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408</c:v>
                </c:pt>
                <c:pt idx="1">
                  <c:v>0.097568</c:v>
                </c:pt>
                <c:pt idx="2">
                  <c:v>0.03078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179</c:v>
                </c:pt>
                <c:pt idx="1">
                  <c:v>0.053485</c:v>
                </c:pt>
                <c:pt idx="2">
                  <c:v>0.02259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2021</c:v>
                </c:pt>
                <c:pt idx="1">
                  <c:v>0.029012</c:v>
                </c:pt>
                <c:pt idx="2">
                  <c:v>0.01002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0212</c:v>
                </c:pt>
                <c:pt idx="1">
                  <c:v>0.048598</c:v>
                </c:pt>
                <c:pt idx="2">
                  <c:v>0.01707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6138</c:v>
                </c:pt>
                <c:pt idx="1">
                  <c:v>0.01579</c:v>
                </c:pt>
                <c:pt idx="2">
                  <c:v>0.00519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8686</c:v>
                </c:pt>
                <c:pt idx="1">
                  <c:v>0.009815</c:v>
                </c:pt>
                <c:pt idx="2">
                  <c:v>0.00350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25926</c:v>
                </c:pt>
                <c:pt idx="1">
                  <c:v>0.141937</c:v>
                </c:pt>
                <c:pt idx="2">
                  <c:v>0.04343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65956</c:v>
                </c:pt>
                <c:pt idx="1">
                  <c:v>0.223472</c:v>
                </c:pt>
                <c:pt idx="2">
                  <c:v>0.08494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425799820090561</c:v>
                </c:pt>
                <c:pt idx="1">
                  <c:v>0.891156796124381</c:v>
                </c:pt>
                <c:pt idx="2">
                  <c:v>0.0020734820215995283</c:v>
                </c:pt>
                <c:pt idx="3">
                  <c:v>1.0286770380815513</c:v>
                </c:pt>
                <c:pt idx="4">
                  <c:v>0.9405853098100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224.461629</c:v>
                </c:pt>
                <c:pt idx="1">
                  <c:v>7.524715</c:v>
                </c:pt>
                <c:pt idx="2">
                  <c:v>0.001597</c:v>
                </c:pt>
                <c:pt idx="3">
                  <c:v>7.767816</c:v>
                </c:pt>
                <c:pt idx="4">
                  <c:v>239.7557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3.84</a:t>
                    </a:r>
                  </a:p>
                </c:rich>
              </c:tx>
              <c:dLblPos val="t"/>
              <c:showLegendKey val="0"/>
              <c:showVal val="1"/>
              <c:showCatName val="0"/>
              <c:showSerName val="0"/>
              <c:showPercent val="0"/>
              <c:showBubbleSize val="0"/>
            </c:dLbl>
            <c:dLbl>
              <c:idx val="1"/>
              <c:tx>
                <c:rich>
                  <a:bodyPr/>
                  <a:lstStyle/>
                  <a:p>
                    <a:r>
                      <a:t>974.07</a:t>
                    </a:r>
                  </a:p>
                </c:rich>
              </c:tx>
              <c:dLblPos val="t"/>
              <c:showLegendKey val="0"/>
              <c:showVal val="1"/>
              <c:showCatName val="0"/>
              <c:showSerName val="0"/>
              <c:showPercent val="0"/>
              <c:showBubbleSize val="0"/>
            </c:dLbl>
            <c:dLbl>
              <c:idx val="2"/>
              <c:tx>
                <c:rich>
                  <a:bodyPr/>
                  <a:lstStyle/>
                  <a:p>
                    <a:r>
                      <a:t>399.25</a:t>
                    </a:r>
                  </a:p>
                </c:rich>
              </c:tx>
              <c:dLblPos val="t"/>
              <c:showLegendKey val="0"/>
              <c:showVal val="1"/>
              <c:showCatName val="0"/>
              <c:showSerName val="0"/>
              <c:showPercent val="0"/>
              <c:showBubbleSize val="0"/>
            </c:dLbl>
            <c:dLbl>
              <c:idx val="3"/>
              <c:tx>
                <c:rich>
                  <a:bodyPr/>
                  <a:lstStyle/>
                  <a:p>
                    <a:r>
                      <a:t>494.67</a:t>
                    </a:r>
                  </a:p>
                </c:rich>
              </c:tx>
              <c:dLblPos val="t"/>
              <c:showLegendKey val="0"/>
              <c:showVal val="1"/>
              <c:showCatName val="0"/>
              <c:showSerName val="0"/>
              <c:showPercent val="0"/>
              <c:showBubbleSize val="0"/>
            </c:dLbl>
            <c:dLbl>
              <c:idx val="4"/>
              <c:tx>
                <c:rich>
                  <a:bodyPr/>
                  <a:lstStyle/>
                  <a:p>
                    <a:r>
                      <a:t>1040.0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083.8373</c:v>
                </c:pt>
                <c:pt idx="1">
                  <c:v>974.0731</c:v>
                </c:pt>
                <c:pt idx="2">
                  <c:v>399.25</c:v>
                </c:pt>
                <c:pt idx="3">
                  <c:v>494.6708</c:v>
                </c:pt>
                <c:pt idx="4">
                  <c:v>1040.01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425799820090561</c:v>
                </c:pt>
                <c:pt idx="1">
                  <c:v>0.891156796124381</c:v>
                </c:pt>
                <c:pt idx="2">
                  <c:v>0.0020734820215995283</c:v>
                </c:pt>
                <c:pt idx="3">
                  <c:v>1.0286770380815513</c:v>
                </c:pt>
                <c:pt idx="4">
                  <c:v>0.9405853098100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224.461629</c:v>
                </c:pt>
                <c:pt idx="1">
                  <c:v>7.524715</c:v>
                </c:pt>
                <c:pt idx="2">
                  <c:v>0.001597</c:v>
                </c:pt>
                <c:pt idx="3">
                  <c:v>7.767816</c:v>
                </c:pt>
                <c:pt idx="4">
                  <c:v>239.7557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3.84</a:t>
                    </a:r>
                  </a:p>
                </c:rich>
              </c:tx>
              <c:dLblPos val="t"/>
              <c:showLegendKey val="0"/>
              <c:showVal val="1"/>
              <c:showCatName val="0"/>
              <c:showSerName val="0"/>
              <c:showPercent val="0"/>
              <c:showBubbleSize val="0"/>
            </c:dLbl>
            <c:dLbl>
              <c:idx val="1"/>
              <c:tx>
                <c:rich>
                  <a:bodyPr/>
                  <a:lstStyle/>
                  <a:p>
                    <a:r>
                      <a:t>974.07</a:t>
                    </a:r>
                  </a:p>
                </c:rich>
              </c:tx>
              <c:dLblPos val="t"/>
              <c:showLegendKey val="0"/>
              <c:showVal val="1"/>
              <c:showCatName val="0"/>
              <c:showSerName val="0"/>
              <c:showPercent val="0"/>
              <c:showBubbleSize val="0"/>
            </c:dLbl>
            <c:dLbl>
              <c:idx val="2"/>
              <c:tx>
                <c:rich>
                  <a:bodyPr/>
                  <a:lstStyle/>
                  <a:p>
                    <a:r>
                      <a:t>399.25</a:t>
                    </a:r>
                  </a:p>
                </c:rich>
              </c:tx>
              <c:dLblPos val="t"/>
              <c:showLegendKey val="0"/>
              <c:showVal val="1"/>
              <c:showCatName val="0"/>
              <c:showSerName val="0"/>
              <c:showPercent val="0"/>
              <c:showBubbleSize val="0"/>
            </c:dLbl>
            <c:dLbl>
              <c:idx val="3"/>
              <c:tx>
                <c:rich>
                  <a:bodyPr/>
                  <a:lstStyle/>
                  <a:p>
                    <a:r>
                      <a:t>494.67</a:t>
                    </a:r>
                  </a:p>
                </c:rich>
              </c:tx>
              <c:dLblPos val="t"/>
              <c:showLegendKey val="0"/>
              <c:showVal val="1"/>
              <c:showCatName val="0"/>
              <c:showSerName val="0"/>
              <c:showPercent val="0"/>
              <c:showBubbleSize val="0"/>
            </c:dLbl>
            <c:dLbl>
              <c:idx val="4"/>
              <c:tx>
                <c:rich>
                  <a:bodyPr/>
                  <a:lstStyle/>
                  <a:p>
                    <a:r>
                      <a:t>1040.0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083.8373</c:v>
                </c:pt>
                <c:pt idx="1">
                  <c:v>974.0731</c:v>
                </c:pt>
                <c:pt idx="2">
                  <c:v>399.25</c:v>
                </c:pt>
                <c:pt idx="3">
                  <c:v>494.6708</c:v>
                </c:pt>
                <c:pt idx="4">
                  <c:v>1040.01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425799820090561</c:v>
                </c:pt>
                <c:pt idx="1">
                  <c:v>0.891156796124381</c:v>
                </c:pt>
                <c:pt idx="2">
                  <c:v>0.0020734820215995283</c:v>
                </c:pt>
                <c:pt idx="3">
                  <c:v>1.0286770380815513</c:v>
                </c:pt>
                <c:pt idx="4">
                  <c:v>0.9405853098100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224.461629</c:v>
                </c:pt>
                <c:pt idx="1">
                  <c:v>7.524715</c:v>
                </c:pt>
                <c:pt idx="2">
                  <c:v>0.001597</c:v>
                </c:pt>
                <c:pt idx="3">
                  <c:v>7.767816</c:v>
                </c:pt>
                <c:pt idx="4">
                  <c:v>239.7557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3.84</a:t>
                    </a:r>
                  </a:p>
                </c:rich>
              </c:tx>
              <c:dLblPos val="t"/>
              <c:showLegendKey val="0"/>
              <c:showVal val="1"/>
              <c:showCatName val="0"/>
              <c:showSerName val="0"/>
              <c:showPercent val="0"/>
              <c:showBubbleSize val="0"/>
            </c:dLbl>
            <c:dLbl>
              <c:idx val="1"/>
              <c:tx>
                <c:rich>
                  <a:bodyPr/>
                  <a:lstStyle/>
                  <a:p>
                    <a:r>
                      <a:t>974.07</a:t>
                    </a:r>
                  </a:p>
                </c:rich>
              </c:tx>
              <c:dLblPos val="t"/>
              <c:showLegendKey val="0"/>
              <c:showVal val="1"/>
              <c:showCatName val="0"/>
              <c:showSerName val="0"/>
              <c:showPercent val="0"/>
              <c:showBubbleSize val="0"/>
            </c:dLbl>
            <c:dLbl>
              <c:idx val="2"/>
              <c:tx>
                <c:rich>
                  <a:bodyPr/>
                  <a:lstStyle/>
                  <a:p>
                    <a:r>
                      <a:t>399.25</a:t>
                    </a:r>
                  </a:p>
                </c:rich>
              </c:tx>
              <c:dLblPos val="t"/>
              <c:showLegendKey val="0"/>
              <c:showVal val="1"/>
              <c:showCatName val="0"/>
              <c:showSerName val="0"/>
              <c:showPercent val="0"/>
              <c:showBubbleSize val="0"/>
            </c:dLbl>
            <c:dLbl>
              <c:idx val="3"/>
              <c:tx>
                <c:rich>
                  <a:bodyPr/>
                  <a:lstStyle/>
                  <a:p>
                    <a:r>
                      <a:t>494.67</a:t>
                    </a:r>
                  </a:p>
                </c:rich>
              </c:tx>
              <c:dLblPos val="t"/>
              <c:showLegendKey val="0"/>
              <c:showVal val="1"/>
              <c:showCatName val="0"/>
              <c:showSerName val="0"/>
              <c:showPercent val="0"/>
              <c:showBubbleSize val="0"/>
            </c:dLbl>
            <c:dLbl>
              <c:idx val="4"/>
              <c:tx>
                <c:rich>
                  <a:bodyPr/>
                  <a:lstStyle/>
                  <a:p>
                    <a:r>
                      <a:t>1040.0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083.8373</c:v>
                </c:pt>
                <c:pt idx="1">
                  <c:v>974.0731</c:v>
                </c:pt>
                <c:pt idx="2">
                  <c:v>399.25</c:v>
                </c:pt>
                <c:pt idx="3">
                  <c:v>494.6708</c:v>
                </c:pt>
                <c:pt idx="4">
                  <c:v>1040.01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425799820090561</c:v>
                </c:pt>
                <c:pt idx="1">
                  <c:v>0.891156796124381</c:v>
                </c:pt>
                <c:pt idx="2">
                  <c:v>0.0020734820215995283</c:v>
                </c:pt>
                <c:pt idx="3">
                  <c:v>1.0286770380815513</c:v>
                </c:pt>
                <c:pt idx="4">
                  <c:v>0.9405853098100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3574.107035</c:v>
                </c:pt>
                <c:pt idx="1">
                  <c:v>46.409343</c:v>
                </c:pt>
                <c:pt idx="2">
                  <c:v>62.567512</c:v>
                </c:pt>
                <c:pt idx="3">
                  <c:v>45.635604</c:v>
                </c:pt>
                <c:pt idx="4">
                  <c:v>3728.7194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2.59</a:t>
                    </a:r>
                  </a:p>
                </c:rich>
              </c:tx>
              <c:dLblPos val="t"/>
              <c:showLegendKey val="0"/>
              <c:showVal val="1"/>
              <c:showCatName val="0"/>
              <c:showSerName val="0"/>
              <c:showPercent val="0"/>
              <c:showBubbleSize val="0"/>
            </c:dLbl>
            <c:dLbl>
              <c:idx val="1"/>
              <c:tx>
                <c:rich>
                  <a:bodyPr/>
                  <a:lstStyle/>
                  <a:p>
                    <a:r>
                      <a:t>1150.03</a:t>
                    </a:r>
                  </a:p>
                </c:rich>
              </c:tx>
              <c:dLblPos val="t"/>
              <c:showLegendKey val="0"/>
              <c:showVal val="1"/>
              <c:showCatName val="0"/>
              <c:showSerName val="0"/>
              <c:showPercent val="0"/>
              <c:showBubbleSize val="0"/>
            </c:dLbl>
            <c:dLbl>
              <c:idx val="2"/>
              <c:tx>
                <c:rich>
                  <a:bodyPr/>
                  <a:lstStyle/>
                  <a:p>
                    <a:r>
                      <a:t>6778.71</a:t>
                    </a:r>
                  </a:p>
                </c:rich>
              </c:tx>
              <c:dLblPos val="t"/>
              <c:showLegendKey val="0"/>
              <c:showVal val="1"/>
              <c:showCatName val="0"/>
              <c:showSerName val="0"/>
              <c:showPercent val="0"/>
              <c:showBubbleSize val="0"/>
            </c:dLbl>
            <c:dLbl>
              <c:idx val="3"/>
              <c:tx>
                <c:rich>
                  <a:bodyPr/>
                  <a:lstStyle/>
                  <a:p>
                    <a:r>
                      <a:t>579.65</a:t>
                    </a:r>
                  </a:p>
                </c:rich>
              </c:tx>
              <c:dLblPos val="t"/>
              <c:showLegendKey val="0"/>
              <c:showVal val="1"/>
              <c:showCatName val="0"/>
              <c:showSerName val="0"/>
              <c:showPercent val="0"/>
              <c:showBubbleSize val="0"/>
            </c:dLbl>
            <c:dLbl>
              <c:idx val="4"/>
              <c:tx>
                <c:rich>
                  <a:bodyPr/>
                  <a:lstStyle/>
                  <a:p>
                    <a:r>
                      <a:t>2378.0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2482.5929</c:v>
                </c:pt>
                <c:pt idx="1">
                  <c:v>1150.0271</c:v>
                </c:pt>
                <c:pt idx="2">
                  <c:v>6778.712</c:v>
                </c:pt>
                <c:pt idx="3">
                  <c:v>579.6543</c:v>
                </c:pt>
                <c:pt idx="4">
                  <c:v>2378.03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936946709395429</c:v>
                </c:pt>
                <c:pt idx="1">
                  <c:v>0.9589150828692261</c:v>
                </c:pt>
                <c:pt idx="2">
                  <c:v>1.172233614447019</c:v>
                </c:pt>
                <c:pt idx="3">
                  <c:v>0.9106209664375116</c:v>
                </c:pt>
                <c:pt idx="4">
                  <c:v>0.994677143554844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3574.107035</c:v>
                </c:pt>
                <c:pt idx="1">
                  <c:v>46.409343</c:v>
                </c:pt>
                <c:pt idx="2">
                  <c:v>62.567512</c:v>
                </c:pt>
                <c:pt idx="3">
                  <c:v>45.635604</c:v>
                </c:pt>
                <c:pt idx="4">
                  <c:v>3728.7194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2.59</a:t>
                    </a:r>
                  </a:p>
                </c:rich>
              </c:tx>
              <c:dLblPos val="t"/>
              <c:showLegendKey val="0"/>
              <c:showVal val="1"/>
              <c:showCatName val="0"/>
              <c:showSerName val="0"/>
              <c:showPercent val="0"/>
              <c:showBubbleSize val="0"/>
            </c:dLbl>
            <c:dLbl>
              <c:idx val="1"/>
              <c:tx>
                <c:rich>
                  <a:bodyPr/>
                  <a:lstStyle/>
                  <a:p>
                    <a:r>
                      <a:t>1150.03</a:t>
                    </a:r>
                  </a:p>
                </c:rich>
              </c:tx>
              <c:dLblPos val="t"/>
              <c:showLegendKey val="0"/>
              <c:showVal val="1"/>
              <c:showCatName val="0"/>
              <c:showSerName val="0"/>
              <c:showPercent val="0"/>
              <c:showBubbleSize val="0"/>
            </c:dLbl>
            <c:dLbl>
              <c:idx val="2"/>
              <c:tx>
                <c:rich>
                  <a:bodyPr/>
                  <a:lstStyle/>
                  <a:p>
                    <a:r>
                      <a:t>6778.71</a:t>
                    </a:r>
                  </a:p>
                </c:rich>
              </c:tx>
              <c:dLblPos val="t"/>
              <c:showLegendKey val="0"/>
              <c:showVal val="1"/>
              <c:showCatName val="0"/>
              <c:showSerName val="0"/>
              <c:showPercent val="0"/>
              <c:showBubbleSize val="0"/>
            </c:dLbl>
            <c:dLbl>
              <c:idx val="3"/>
              <c:tx>
                <c:rich>
                  <a:bodyPr/>
                  <a:lstStyle/>
                  <a:p>
                    <a:r>
                      <a:t>579.65</a:t>
                    </a:r>
                  </a:p>
                </c:rich>
              </c:tx>
              <c:dLblPos val="t"/>
              <c:showLegendKey val="0"/>
              <c:showVal val="1"/>
              <c:showCatName val="0"/>
              <c:showSerName val="0"/>
              <c:showPercent val="0"/>
              <c:showBubbleSize val="0"/>
            </c:dLbl>
            <c:dLbl>
              <c:idx val="4"/>
              <c:tx>
                <c:rich>
                  <a:bodyPr/>
                  <a:lstStyle/>
                  <a:p>
                    <a:r>
                      <a:t>2378.0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2482.5929</c:v>
                </c:pt>
                <c:pt idx="1">
                  <c:v>1150.0271</c:v>
                </c:pt>
                <c:pt idx="2">
                  <c:v>6778.712</c:v>
                </c:pt>
                <c:pt idx="3">
                  <c:v>579.6543</c:v>
                </c:pt>
                <c:pt idx="4">
                  <c:v>2378.03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a:solidFill>
                          <a:srgbClr val="FFFFFF"/>
                        </a:solidFill>
                      </a:rPr>
                      <a:t>1136.5</a:t>
                    </a:r>
                  </a:p>
                </c:rich>
              </c:tx>
              <c:showLegendKey val="0"/>
              <c:showVal val="1"/>
              <c:showCatName val="0"/>
              <c:showSerName val="0"/>
              <c:showPercent val="0"/>
              <c:showBubbleSize val="0"/>
            </c:dLbl>
            <c:dLbl>
              <c:idx val="1"/>
              <c:tx>
                <c:rich>
                  <a:bodyPr/>
                  <a:lstStyle/>
                  <a:p>
                    <a:r>
                      <a:rPr>
                        <a:solidFill>
                          <a:srgbClr val="FFFFFF"/>
                        </a:solidFill>
                      </a:rPr>
                      <a:t>1125.1</a:t>
                    </a:r>
                  </a:p>
                </c:rich>
              </c:tx>
              <c:showLegendKey val="0"/>
              <c:showVal val="1"/>
              <c:showCatName val="0"/>
              <c:showSerName val="0"/>
              <c:showPercent val="0"/>
              <c:showBubbleSize val="0"/>
            </c:dLbl>
            <c:dLbl>
              <c:idx val="2"/>
              <c:tx>
                <c:rich>
                  <a:bodyPr/>
                  <a:lstStyle/>
                  <a:p>
                    <a:r>
                      <a:rPr>
                        <a:solidFill>
                          <a:srgbClr val="FFFFFF"/>
                        </a:solidFill>
                      </a:rPr>
                      <a:t>39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36.482479</c:v>
                </c:pt>
                <c:pt idx="1">
                  <c:v>1125.148753</c:v>
                </c:pt>
                <c:pt idx="2">
                  <c:v>394.8199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781.9</a:t>
                    </a:r>
                  </a:p>
                </c:rich>
              </c:tx>
              <c:showLegendKey val="0"/>
              <c:showVal val="1"/>
              <c:showCatName val="0"/>
              <c:showSerName val="0"/>
              <c:showPercent val="0"/>
              <c:showBubbleSize val="0"/>
            </c:dLbl>
            <c:dLbl>
              <c:idx val="1"/>
              <c:tx>
                <c:rich>
                  <a:bodyPr/>
                  <a:lstStyle/>
                  <a:p>
                    <a:r>
                      <a:rPr>
                        <a:solidFill>
                          <a:srgbClr val="FFFFFF"/>
                        </a:solidFill>
                      </a:rPr>
                      <a:t>736.6</a:t>
                    </a:r>
                  </a:p>
                </c:rich>
              </c:tx>
              <c:showLegendKey val="0"/>
              <c:showVal val="1"/>
              <c:showCatName val="0"/>
              <c:showSerName val="0"/>
              <c:showPercent val="0"/>
              <c:showBubbleSize val="0"/>
            </c:dLbl>
            <c:dLbl>
              <c:idx val="2"/>
              <c:tx>
                <c:rich>
                  <a:bodyPr/>
                  <a:lstStyle/>
                  <a:p>
                    <a:r>
                      <a:rPr>
                        <a:solidFill>
                          <a:srgbClr val="FFFFFF"/>
                        </a:solidFill>
                      </a:rPr>
                      <a:t>26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81.851184</c:v>
                </c:pt>
                <c:pt idx="1">
                  <c:v>736.649761</c:v>
                </c:pt>
                <c:pt idx="2">
                  <c:v>267.32821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a:solidFill>
                          <a:srgbClr val="FFFFFF"/>
                        </a:solidFill>
                      </a:rPr>
                      <a:t>596.2</a:t>
                    </a:r>
                  </a:p>
                </c:rich>
              </c:tx>
              <c:showLegendKey val="0"/>
              <c:showVal val="1"/>
              <c:showCatName val="0"/>
              <c:showSerName val="0"/>
              <c:showPercent val="0"/>
              <c:showBubbleSize val="0"/>
            </c:dLbl>
            <c:dLbl>
              <c:idx val="1"/>
              <c:tx>
                <c:rich>
                  <a:bodyPr/>
                  <a:lstStyle/>
                  <a:p>
                    <a:r>
                      <a:rPr>
                        <a:solidFill>
                          <a:srgbClr val="FFFFFF"/>
                        </a:solidFill>
                      </a:rPr>
                      <a:t>636.2</a:t>
                    </a:r>
                  </a:p>
                </c:rich>
              </c:tx>
              <c:showLegendKey val="0"/>
              <c:showVal val="1"/>
              <c:showCatName val="0"/>
              <c:showSerName val="0"/>
              <c:showPercent val="0"/>
              <c:showBubbleSize val="0"/>
            </c:dLbl>
            <c:dLbl>
              <c:idx val="2"/>
              <c:tx>
                <c:rich>
                  <a:bodyPr/>
                  <a:lstStyle/>
                  <a:p>
                    <a:r>
                      <a:rPr>
                        <a:solidFill>
                          <a:srgbClr val="FFFFFF"/>
                        </a:solidFill>
                      </a:rPr>
                      <a:t>2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96.152096</c:v>
                </c:pt>
                <c:pt idx="1">
                  <c:v>636.151875</c:v>
                </c:pt>
                <c:pt idx="2">
                  <c:v>212.48828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a:solidFill>
                          <a:srgbClr val="FFFFFF"/>
                        </a:solidFill>
                      </a:rPr>
                      <a:t>393.9</a:t>
                    </a:r>
                  </a:p>
                </c:rich>
              </c:tx>
              <c:showLegendKey val="0"/>
              <c:showVal val="1"/>
              <c:showCatName val="0"/>
              <c:showSerName val="0"/>
              <c:showPercent val="0"/>
              <c:showBubbleSize val="0"/>
            </c:dLbl>
            <c:dLbl>
              <c:idx val="1"/>
              <c:tx>
                <c:rich>
                  <a:bodyPr/>
                  <a:lstStyle/>
                  <a:p>
                    <a:r>
                      <a:rPr>
                        <a:solidFill>
                          <a:srgbClr val="FFFFFF"/>
                        </a:solidFill>
                      </a:rPr>
                      <a:t>509.3</a:t>
                    </a:r>
                  </a:p>
                </c:rich>
              </c:tx>
              <c:showLegendKey val="0"/>
              <c:showVal val="1"/>
              <c:showCatName val="0"/>
              <c:showSerName val="0"/>
              <c:showPercent val="0"/>
              <c:showBubbleSize val="0"/>
            </c:dLbl>
            <c:dLbl>
              <c:idx val="2"/>
              <c:tx>
                <c:rich>
                  <a:bodyPr/>
                  <a:lstStyle/>
                  <a:p>
                    <a:r>
                      <a:rPr>
                        <a:solidFill>
                          <a:srgbClr val="FFFFFF"/>
                        </a:solidFill>
                      </a:rPr>
                      <a:t>18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93.893221</c:v>
                </c:pt>
                <c:pt idx="1">
                  <c:v>509.310278</c:v>
                </c:pt>
                <c:pt idx="2">
                  <c:v>181.91317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tx>
                <c:rich>
                  <a:bodyPr/>
                  <a:lstStyle/>
                  <a:p>
                    <a:r>
                      <a:rPr>
                        <a:solidFill>
                          <a:srgbClr val="FFFFFF"/>
                        </a:solidFill>
                      </a:rPr>
                      <a:t>230.4</a:t>
                    </a:r>
                  </a:p>
                </c:rich>
              </c:tx>
              <c:showLegendKey val="0"/>
              <c:showVal val="1"/>
              <c:showCatName val="0"/>
              <c:showSerName val="0"/>
              <c:showPercent val="0"/>
              <c:showBubbleSize val="0"/>
            </c:dLbl>
            <c:dLbl>
              <c:idx val="1"/>
              <c:tx>
                <c:rich>
                  <a:bodyPr/>
                  <a:lstStyle/>
                  <a:p>
                    <a:r>
                      <a:rPr>
                        <a:solidFill>
                          <a:srgbClr val="FFFFFF"/>
                        </a:solidFill>
                      </a:rPr>
                      <a:t>262.2</a:t>
                    </a:r>
                  </a:p>
                </c:rich>
              </c:tx>
              <c:showLegendKey val="0"/>
              <c:showVal val="1"/>
              <c:showCatName val="0"/>
              <c:showSerName val="0"/>
              <c:showPercent val="0"/>
              <c:showBubbleSize val="0"/>
            </c:dLbl>
            <c:dLbl>
              <c:idx val="2"/>
              <c:tx>
                <c:rich>
                  <a:bodyPr/>
                  <a:lstStyle/>
                  <a:p>
                    <a:r>
                      <a:rPr>
                        <a:solidFill>
                          <a:srgbClr val="FFFFFF"/>
                        </a:solidFill>
                      </a:rPr>
                      <a:t>8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30.351733</c:v>
                </c:pt>
                <c:pt idx="1">
                  <c:v>262.171548</c:v>
                </c:pt>
                <c:pt idx="2">
                  <c:v>80.11029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tx>
                <c:rich>
                  <a:bodyPr/>
                  <a:lstStyle/>
                  <a:p>
                    <a:r>
                      <a:rPr>
                        <a:solidFill>
                          <a:srgbClr val="FFFFFF"/>
                        </a:solidFill>
                      </a:rPr>
                      <a:t>89.7</a:t>
                    </a:r>
                  </a:p>
                </c:rich>
              </c:tx>
              <c:showLegendKey val="0"/>
              <c:showVal val="1"/>
              <c:showCatName val="0"/>
              <c:showSerName val="0"/>
              <c:showPercent val="0"/>
              <c:showBubbleSize val="0"/>
            </c:dLbl>
            <c:dLbl>
              <c:idx val="1"/>
              <c:tx>
                <c:rich>
                  <a:bodyPr/>
                  <a:lstStyle/>
                  <a:p>
                    <a:r>
                      <a:rPr>
                        <a:solidFill>
                          <a:srgbClr val="FFFFFF"/>
                        </a:solidFill>
                      </a:rPr>
                      <a:t>161.0</a:t>
                    </a:r>
                  </a:p>
                </c:rich>
              </c:tx>
              <c:showLegendKey val="0"/>
              <c:showVal val="1"/>
              <c:showCatName val="0"/>
              <c:showSerName val="0"/>
              <c:showPercent val="0"/>
              <c:showBubbleSize val="0"/>
            </c:dLbl>
            <c:dLbl>
              <c:idx val="2"/>
              <c:tx>
                <c:rich>
                  <a:bodyPr/>
                  <a:lstStyle/>
                  <a:p>
                    <a:r>
                      <a:rPr>
                        <a:solidFill>
                          <a:srgbClr val="FFFFFF"/>
                        </a:solidFill>
                      </a:rPr>
                      <a:t>5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9.669226</c:v>
                </c:pt>
                <c:pt idx="1">
                  <c:v>160.977967</c:v>
                </c:pt>
                <c:pt idx="2">
                  <c:v>57.04601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tx>
                <c:rich>
                  <a:bodyPr/>
                  <a:lstStyle/>
                  <a:p>
                    <a:r>
                      <a:rPr>
                        <a:solidFill>
                          <a:srgbClr val="FFFFFF"/>
                        </a:solidFill>
                      </a:rPr>
                      <a:t>122.7</a:t>
                    </a:r>
                  </a:p>
                </c:rich>
              </c:tx>
              <c:showLegendKey val="0"/>
              <c:showVal val="1"/>
              <c:showCatName val="0"/>
              <c:showSerName val="0"/>
              <c:showPercent val="0"/>
              <c:showBubbleSize val="0"/>
            </c:dLbl>
            <c:dLbl>
              <c:idx val="1"/>
              <c:tx>
                <c:rich>
                  <a:bodyPr/>
                  <a:lstStyle/>
                  <a:p>
                    <a:r>
                      <a:rPr>
                        <a:solidFill>
                          <a:srgbClr val="FFFFFF"/>
                        </a:solidFill>
                      </a:rPr>
                      <a:t>122.4</a:t>
                    </a:r>
                  </a:p>
                </c:rich>
              </c:tx>
              <c:showLegendKey val="0"/>
              <c:showVal val="1"/>
              <c:showCatName val="0"/>
              <c:showSerName val="0"/>
              <c:showPercent val="0"/>
              <c:showBubbleSize val="0"/>
            </c:dLbl>
            <c:dLbl>
              <c:idx val="2"/>
              <c:tx>
                <c:rich>
                  <a:bodyPr/>
                  <a:lstStyle/>
                  <a:p>
                    <a:r>
                      <a:rPr>
                        <a:solidFill>
                          <a:srgbClr val="FFFFFF"/>
                        </a:solidFill>
                      </a:rPr>
                      <a:t>4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22.687827</c:v>
                </c:pt>
                <c:pt idx="1">
                  <c:v>122.37131</c:v>
                </c:pt>
                <c:pt idx="2">
                  <c:v>42.90041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tx>
                <c:rich>
                  <a:bodyPr/>
                  <a:lstStyle/>
                  <a:p>
                    <a:r>
                      <a:rPr>
                        <a:solidFill>
                          <a:srgbClr val="FFFFFF"/>
                        </a:solidFill>
                      </a:rPr>
                      <a:t>95.2</a:t>
                    </a:r>
                  </a:p>
                </c:rich>
              </c:tx>
              <c:showLegendKey val="0"/>
              <c:showVal val="1"/>
              <c:showCatName val="0"/>
              <c:showSerName val="0"/>
              <c:showPercent val="0"/>
              <c:showBubbleSize val="0"/>
            </c:dLbl>
            <c:dLbl>
              <c:idx val="1"/>
              <c:tx>
                <c:rich>
                  <a:bodyPr/>
                  <a:lstStyle/>
                  <a:p>
                    <a:r>
                      <a:rPr>
                        <a:solidFill>
                          <a:srgbClr val="FFFFFF"/>
                        </a:solidFill>
                      </a:rPr>
                      <a:t>114.3</a:t>
                    </a:r>
                  </a:p>
                </c:rich>
              </c:tx>
              <c:showLegendKey val="0"/>
              <c:showVal val="1"/>
              <c:showCatName val="0"/>
              <c:showSerName val="0"/>
              <c:showPercent val="0"/>
              <c:showBubbleSize val="0"/>
            </c:dLbl>
            <c:dLbl>
              <c:idx val="2"/>
              <c:tx>
                <c:rich>
                  <a:bodyPr/>
                  <a:lstStyle/>
                  <a:p>
                    <a:r>
                      <a:rPr>
                        <a:solidFill>
                          <a:srgbClr val="FFFFFF"/>
                        </a:solidFill>
                      </a:rPr>
                      <a:t>4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95.248852</c:v>
                </c:pt>
                <c:pt idx="1">
                  <c:v>114.34188</c:v>
                </c:pt>
                <c:pt idx="2">
                  <c:v>41.85519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a:solidFill>
                          <a:srgbClr val="FFFFFF"/>
                        </a:solidFill>
                      </a:rPr>
                      <a:t>119.9</a:t>
                    </a:r>
                  </a:p>
                </c:rich>
              </c:tx>
              <c:showLegendKey val="0"/>
              <c:showVal val="1"/>
              <c:showCatName val="0"/>
              <c:showSerName val="0"/>
              <c:showPercent val="0"/>
              <c:showBubbleSize val="0"/>
            </c:dLbl>
            <c:dLbl>
              <c:idx val="1"/>
              <c:tx>
                <c:rich>
                  <a:bodyPr/>
                  <a:lstStyle/>
                  <a:p>
                    <a:r>
                      <a:rPr>
                        <a:solidFill>
                          <a:srgbClr val="FFFFFF"/>
                        </a:solidFill>
                      </a:rPr>
                      <a:t>90.1</a:t>
                    </a:r>
                  </a:p>
                </c:rich>
              </c:tx>
              <c:showLegendKey val="0"/>
              <c:showVal val="1"/>
              <c:showCatName val="0"/>
              <c:showSerName val="0"/>
              <c:showPercent val="0"/>
              <c:showBubbleSize val="0"/>
            </c:dLbl>
            <c:dLbl>
              <c:idx val="2"/>
              <c:tx>
                <c:rich>
                  <a:bodyPr/>
                  <a:lstStyle/>
                  <a:p>
                    <a:r>
                      <a:rPr>
                        <a:solidFill>
                          <a:srgbClr val="FFFFFF"/>
                        </a:solidFill>
                      </a:rPr>
                      <a:t>2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19.946599</c:v>
                </c:pt>
                <c:pt idx="1">
                  <c:v>90.138485</c:v>
                </c:pt>
                <c:pt idx="2">
                  <c:v>29.44237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26.2</a:t>
                    </a:r>
                  </a:p>
                </c:rich>
              </c:tx>
              <c:showLegendKey val="0"/>
              <c:showVal val="1"/>
              <c:showCatName val="0"/>
              <c:showSerName val="0"/>
              <c:showPercent val="0"/>
              <c:showBubbleSize val="0"/>
            </c:dLbl>
            <c:dLbl>
              <c:idx val="1"/>
              <c:tx>
                <c:rich>
                  <a:bodyPr/>
                  <a:lstStyle/>
                  <a:p>
                    <a:r>
                      <a:rPr>
                        <a:solidFill>
                          <a:srgbClr val="FFFFFF"/>
                        </a:solidFill>
                      </a:rPr>
                      <a:t>408.9</a:t>
                    </a:r>
                  </a:p>
                </c:rich>
              </c:tx>
              <c:showLegendKey val="0"/>
              <c:showVal val="1"/>
              <c:showCatName val="0"/>
              <c:showSerName val="0"/>
              <c:showPercent val="0"/>
              <c:showBubbleSize val="0"/>
            </c:dLbl>
            <c:dLbl>
              <c:idx val="2"/>
              <c:tx>
                <c:rich>
                  <a:bodyPr/>
                  <a:lstStyle/>
                  <a:p>
                    <a:r>
                      <a:rPr>
                        <a:solidFill>
                          <a:srgbClr val="FFFFFF"/>
                        </a:solidFill>
                      </a:rPr>
                      <a:t>15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26.215093</c:v>
                </c:pt>
                <c:pt idx="1">
                  <c:v>408.882249</c:v>
                </c:pt>
                <c:pt idx="2">
                  <c:v>154.9040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a:solidFill>
                          <a:srgbClr val="FFFFFF"/>
                        </a:solidFill>
                      </a:rPr>
                      <a:t>1116.5</a:t>
                    </a:r>
                  </a:p>
                </c:rich>
              </c:tx>
              <c:showLegendKey val="0"/>
              <c:showVal val="1"/>
              <c:showCatName val="0"/>
              <c:showSerName val="0"/>
              <c:showPercent val="0"/>
              <c:showBubbleSize val="0"/>
            </c:dLbl>
            <c:dLbl>
              <c:idx val="1"/>
              <c:tx>
                <c:rich>
                  <a:bodyPr/>
                  <a:lstStyle/>
                  <a:p>
                    <a:r>
                      <a:rPr>
                        <a:solidFill>
                          <a:srgbClr val="FFFFFF"/>
                        </a:solidFill>
                      </a:rPr>
                      <a:t>1103.6</a:t>
                    </a:r>
                  </a:p>
                </c:rich>
              </c:tx>
              <c:showLegendKey val="0"/>
              <c:showVal val="1"/>
              <c:showCatName val="0"/>
              <c:showSerName val="0"/>
              <c:showPercent val="0"/>
              <c:showBubbleSize val="0"/>
            </c:dLbl>
            <c:dLbl>
              <c:idx val="2"/>
              <c:tx>
                <c:rich>
                  <a:bodyPr/>
                  <a:lstStyle/>
                  <a:p>
                    <a:r>
                      <a:rPr>
                        <a:solidFill>
                          <a:srgbClr val="FFFFFF"/>
                        </a:solidFill>
                      </a:rPr>
                      <a:t>38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16.473878</c:v>
                </c:pt>
                <c:pt idx="1">
                  <c:v>1103.577759</c:v>
                </c:pt>
                <c:pt idx="2">
                  <c:v>387.7588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704.1</a:t>
                    </a:r>
                  </a:p>
                </c:rich>
              </c:tx>
              <c:showLegendKey val="0"/>
              <c:showVal val="1"/>
              <c:showCatName val="0"/>
              <c:showSerName val="0"/>
              <c:showPercent val="0"/>
              <c:showBubbleSize val="0"/>
            </c:dLbl>
            <c:dLbl>
              <c:idx val="1"/>
              <c:tx>
                <c:rich>
                  <a:bodyPr/>
                  <a:lstStyle/>
                  <a:p>
                    <a:r>
                      <a:rPr>
                        <a:solidFill>
                          <a:srgbClr val="FFFFFF"/>
                        </a:solidFill>
                      </a:rPr>
                      <a:t>672.2</a:t>
                    </a:r>
                  </a:p>
                </c:rich>
              </c:tx>
              <c:showLegendKey val="0"/>
              <c:showVal val="1"/>
              <c:showCatName val="0"/>
              <c:showSerName val="0"/>
              <c:showPercent val="0"/>
              <c:showBubbleSize val="0"/>
            </c:dLbl>
            <c:dLbl>
              <c:idx val="2"/>
              <c:tx>
                <c:rich>
                  <a:bodyPr/>
                  <a:lstStyle/>
                  <a:p>
                    <a:r>
                      <a:rPr>
                        <a:solidFill>
                          <a:srgbClr val="FFFFFF"/>
                        </a:solidFill>
                      </a:rPr>
                      <a:t>24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04.08128</c:v>
                </c:pt>
                <c:pt idx="1">
                  <c:v>672.203471</c:v>
                </c:pt>
                <c:pt idx="2">
                  <c:v>244.2697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a:solidFill>
                          <a:srgbClr val="FFFFFF"/>
                        </a:solidFill>
                      </a:rPr>
                      <a:t>596.2</a:t>
                    </a:r>
                  </a:p>
                </c:rich>
              </c:tx>
              <c:showLegendKey val="0"/>
              <c:showVal val="1"/>
              <c:showCatName val="0"/>
              <c:showSerName val="0"/>
              <c:showPercent val="0"/>
              <c:showBubbleSize val="0"/>
            </c:dLbl>
            <c:dLbl>
              <c:idx val="1"/>
              <c:tx>
                <c:rich>
                  <a:bodyPr/>
                  <a:lstStyle/>
                  <a:p>
                    <a:r>
                      <a:rPr>
                        <a:solidFill>
                          <a:srgbClr val="FFFFFF"/>
                        </a:solidFill>
                      </a:rPr>
                      <a:t>636.2</a:t>
                    </a:r>
                  </a:p>
                </c:rich>
              </c:tx>
              <c:showLegendKey val="0"/>
              <c:showVal val="1"/>
              <c:showCatName val="0"/>
              <c:showSerName val="0"/>
              <c:showPercent val="0"/>
              <c:showBubbleSize val="0"/>
            </c:dLbl>
            <c:dLbl>
              <c:idx val="2"/>
              <c:tx>
                <c:rich>
                  <a:bodyPr/>
                  <a:lstStyle/>
                  <a:p>
                    <a:r>
                      <a:rPr>
                        <a:solidFill>
                          <a:srgbClr val="FFFFFF"/>
                        </a:solidFill>
                      </a:rPr>
                      <a:t>2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96.152096</c:v>
                </c:pt>
                <c:pt idx="1">
                  <c:v>636.151875</c:v>
                </c:pt>
                <c:pt idx="2">
                  <c:v>212.48828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a:solidFill>
                          <a:srgbClr val="FFFFFF"/>
                        </a:solidFill>
                      </a:rPr>
                      <a:t>373.5</a:t>
                    </a:r>
                  </a:p>
                </c:rich>
              </c:tx>
              <c:showLegendKey val="0"/>
              <c:showVal val="1"/>
              <c:showCatName val="0"/>
              <c:showSerName val="0"/>
              <c:showPercent val="0"/>
              <c:showBubbleSize val="0"/>
            </c:dLbl>
            <c:dLbl>
              <c:idx val="1"/>
              <c:tx>
                <c:rich>
                  <a:bodyPr/>
                  <a:lstStyle/>
                  <a:p>
                    <a:r>
                      <a:rPr>
                        <a:solidFill>
                          <a:srgbClr val="FFFFFF"/>
                        </a:solidFill>
                      </a:rPr>
                      <a:t>471.0</a:t>
                    </a:r>
                  </a:p>
                </c:rich>
              </c:tx>
              <c:showLegendKey val="0"/>
              <c:showVal val="1"/>
              <c:showCatName val="0"/>
              <c:showSerName val="0"/>
              <c:showPercent val="0"/>
              <c:showBubbleSize val="0"/>
            </c:dLbl>
            <c:dLbl>
              <c:idx val="2"/>
              <c:tx>
                <c:rich>
                  <a:bodyPr/>
                  <a:lstStyle/>
                  <a:p>
                    <a:r>
                      <a:rPr>
                        <a:solidFill>
                          <a:srgbClr val="FFFFFF"/>
                        </a:solidFill>
                      </a:rPr>
                      <a:t>17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73.481947</c:v>
                </c:pt>
                <c:pt idx="1">
                  <c:v>470.963001</c:v>
                </c:pt>
                <c:pt idx="2">
                  <c:v>177.22002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tx>
                <c:rich>
                  <a:bodyPr/>
                  <a:lstStyle/>
                  <a:p>
                    <a:r>
                      <a:rPr>
                        <a:solidFill>
                          <a:srgbClr val="FFFFFF"/>
                        </a:solidFill>
                      </a:rPr>
                      <a:t>223.3</a:t>
                    </a:r>
                  </a:p>
                </c:rich>
              </c:tx>
              <c:showLegendKey val="0"/>
              <c:showVal val="1"/>
              <c:showCatName val="0"/>
              <c:showSerName val="0"/>
              <c:showPercent val="0"/>
              <c:showBubbleSize val="0"/>
            </c:dLbl>
            <c:dLbl>
              <c:idx val="1"/>
              <c:tx>
                <c:rich>
                  <a:bodyPr/>
                  <a:lstStyle/>
                  <a:p>
                    <a:r>
                      <a:rPr>
                        <a:solidFill>
                          <a:srgbClr val="FFFFFF"/>
                        </a:solidFill>
                      </a:rPr>
                      <a:t>226.4</a:t>
                    </a:r>
                  </a:p>
                </c:rich>
              </c:tx>
              <c:showLegendKey val="0"/>
              <c:showVal val="1"/>
              <c:showCatName val="0"/>
              <c:showSerName val="0"/>
              <c:showPercent val="0"/>
              <c:showBubbleSize val="0"/>
            </c:dLbl>
            <c:dLbl>
              <c:idx val="2"/>
              <c:tx>
                <c:rich>
                  <a:bodyPr/>
                  <a:lstStyle/>
                  <a:p>
                    <a:r>
                      <a:rPr>
                        <a:solidFill>
                          <a:srgbClr val="FFFFFF"/>
                        </a:solidFill>
                      </a:rPr>
                      <a:t>7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23.278547</c:v>
                </c:pt>
                <c:pt idx="1">
                  <c:v>226.362508</c:v>
                </c:pt>
                <c:pt idx="2">
                  <c:v>77.77249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tx>
                <c:rich>
                  <a:bodyPr/>
                  <a:lstStyle/>
                  <a:p>
                    <a:r>
                      <a:rPr>
                        <a:solidFill>
                          <a:srgbClr val="FFFFFF"/>
                        </a:solidFill>
                      </a:rPr>
                      <a:t>89.7</a:t>
                    </a:r>
                  </a:p>
                </c:rich>
              </c:tx>
              <c:showLegendKey val="0"/>
              <c:showVal val="1"/>
              <c:showCatName val="0"/>
              <c:showSerName val="0"/>
              <c:showPercent val="0"/>
              <c:showBubbleSize val="0"/>
            </c:dLbl>
            <c:dLbl>
              <c:idx val="1"/>
              <c:tx>
                <c:rich>
                  <a:bodyPr/>
                  <a:lstStyle/>
                  <a:p>
                    <a:r>
                      <a:rPr>
                        <a:solidFill>
                          <a:srgbClr val="FFFFFF"/>
                        </a:solidFill>
                      </a:rPr>
                      <a:t>160.2</a:t>
                    </a:r>
                  </a:p>
                </c:rich>
              </c:tx>
              <c:showLegendKey val="0"/>
              <c:showVal val="1"/>
              <c:showCatName val="0"/>
              <c:showSerName val="0"/>
              <c:showPercent val="0"/>
              <c:showBubbleSize val="0"/>
            </c:dLbl>
            <c:dLbl>
              <c:idx val="2"/>
              <c:tx>
                <c:rich>
                  <a:bodyPr/>
                  <a:lstStyle/>
                  <a:p>
                    <a:r>
                      <a:rPr>
                        <a:solidFill>
                          <a:srgbClr val="FFFFFF"/>
                        </a:solidFill>
                      </a:rPr>
                      <a:t>5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9.653677</c:v>
                </c:pt>
                <c:pt idx="1">
                  <c:v>160.23316</c:v>
                </c:pt>
                <c:pt idx="2">
                  <c:v>57.02090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tx>
                <c:rich>
                  <a:bodyPr/>
                  <a:lstStyle/>
                  <a:p>
                    <a:r>
                      <a:rPr>
                        <a:solidFill>
                          <a:srgbClr val="FFFFFF"/>
                        </a:solidFill>
                      </a:rPr>
                      <a:t>120.3</a:t>
                    </a:r>
                  </a:p>
                </c:rich>
              </c:tx>
              <c:showLegendKey val="0"/>
              <c:showVal val="1"/>
              <c:showCatName val="0"/>
              <c:showSerName val="0"/>
              <c:showPercent val="0"/>
              <c:showBubbleSize val="0"/>
            </c:dLbl>
            <c:dLbl>
              <c:idx val="1"/>
              <c:tx>
                <c:rich>
                  <a:bodyPr/>
                  <a:lstStyle/>
                  <a:p>
                    <a:r>
                      <a:rPr>
                        <a:solidFill>
                          <a:srgbClr val="FFFFFF"/>
                        </a:solidFill>
                      </a:rPr>
                      <a:t>120.8</a:t>
                    </a:r>
                  </a:p>
                </c:rich>
              </c:tx>
              <c:showLegendKey val="0"/>
              <c:showVal val="1"/>
              <c:showCatName val="0"/>
              <c:showSerName val="0"/>
              <c:showPercent val="0"/>
              <c:showBubbleSize val="0"/>
            </c:dLbl>
            <c:dLbl>
              <c:idx val="2"/>
              <c:tx>
                <c:rich>
                  <a:bodyPr/>
                  <a:lstStyle/>
                  <a:p>
                    <a:r>
                      <a:rPr>
                        <a:solidFill>
                          <a:srgbClr val="FFFFFF"/>
                        </a:solidFill>
                      </a:rPr>
                      <a:t>4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20.267148</c:v>
                </c:pt>
                <c:pt idx="1">
                  <c:v>120.760641</c:v>
                </c:pt>
                <c:pt idx="2">
                  <c:v>42.68132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tx>
                <c:rich>
                  <a:bodyPr/>
                  <a:lstStyle/>
                  <a:p>
                    <a:r>
                      <a:rPr>
                        <a:solidFill>
                          <a:srgbClr val="FFFFFF"/>
                        </a:solidFill>
                      </a:rPr>
                      <a:t>95.2</a:t>
                    </a:r>
                  </a:p>
                </c:rich>
              </c:tx>
              <c:showLegendKey val="0"/>
              <c:showVal val="1"/>
              <c:showCatName val="0"/>
              <c:showSerName val="0"/>
              <c:showPercent val="0"/>
              <c:showBubbleSize val="0"/>
            </c:dLbl>
            <c:dLbl>
              <c:idx val="1"/>
              <c:tx>
                <c:rich>
                  <a:bodyPr/>
                  <a:lstStyle/>
                  <a:p>
                    <a:r>
                      <a:rPr>
                        <a:solidFill>
                          <a:srgbClr val="FFFFFF"/>
                        </a:solidFill>
                      </a:rPr>
                      <a:t>114.3</a:t>
                    </a:r>
                  </a:p>
                </c:rich>
              </c:tx>
              <c:showLegendKey val="0"/>
              <c:showVal val="1"/>
              <c:showCatName val="0"/>
              <c:showSerName val="0"/>
              <c:showPercent val="0"/>
              <c:showBubbleSize val="0"/>
            </c:dLbl>
            <c:dLbl>
              <c:idx val="2"/>
              <c:tx>
                <c:rich>
                  <a:bodyPr/>
                  <a:lstStyle/>
                  <a:p>
                    <a:r>
                      <a:rPr>
                        <a:solidFill>
                          <a:srgbClr val="FFFFFF"/>
                        </a:solidFill>
                      </a:rPr>
                      <a:t>4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95.237571</c:v>
                </c:pt>
                <c:pt idx="1">
                  <c:v>114.328461</c:v>
                </c:pt>
                <c:pt idx="2">
                  <c:v>41.85519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a:solidFill>
                          <a:srgbClr val="FFFFFF"/>
                        </a:solidFill>
                      </a:rPr>
                      <a:t>113.5</a:t>
                    </a:r>
                  </a:p>
                </c:rich>
              </c:tx>
              <c:showLegendKey val="0"/>
              <c:showVal val="1"/>
              <c:showCatName val="0"/>
              <c:showSerName val="0"/>
              <c:showPercent val="0"/>
              <c:showBubbleSize val="0"/>
            </c:dLbl>
            <c:dLbl>
              <c:idx val="1"/>
              <c:tx>
                <c:rich>
                  <a:bodyPr/>
                  <a:lstStyle/>
                  <a:p>
                    <a:r>
                      <a:rPr>
                        <a:solidFill>
                          <a:srgbClr val="FFFFFF"/>
                        </a:solidFill>
                      </a:rPr>
                      <a:t>86.6</a:t>
                    </a:r>
                  </a:p>
                </c:rich>
              </c:tx>
              <c:showLegendKey val="0"/>
              <c:showVal val="1"/>
              <c:showCatName val="0"/>
              <c:showSerName val="0"/>
              <c:showPercent val="0"/>
              <c:showBubbleSize val="0"/>
            </c:dLbl>
            <c:dLbl>
              <c:idx val="2"/>
              <c:tx>
                <c:rich>
                  <a:bodyPr/>
                  <a:lstStyle/>
                  <a:p>
                    <a:r>
                      <a:rPr>
                        <a:solidFill>
                          <a:srgbClr val="FFFFFF"/>
                        </a:solidFill>
                      </a:rPr>
                      <a:t>2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13.530739</c:v>
                </c:pt>
                <c:pt idx="1">
                  <c:v>86.608092</c:v>
                </c:pt>
                <c:pt idx="2">
                  <c:v>28.50349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09.9</a:t>
                    </a:r>
                  </a:p>
                </c:rich>
              </c:tx>
              <c:showLegendKey val="0"/>
              <c:showVal val="1"/>
              <c:showCatName val="0"/>
              <c:showSerName val="0"/>
              <c:showPercent val="0"/>
              <c:showBubbleSize val="0"/>
            </c:dLbl>
            <c:dLbl>
              <c:idx val="1"/>
              <c:tx>
                <c:rich>
                  <a:bodyPr/>
                  <a:lstStyle/>
                  <a:p>
                    <a:r>
                      <a:rPr>
                        <a:solidFill>
                          <a:srgbClr val="FFFFFF"/>
                        </a:solidFill>
                      </a:rPr>
                      <a:t>391.6</a:t>
                    </a:r>
                  </a:p>
                </c:rich>
              </c:tx>
              <c:showLegendKey val="0"/>
              <c:showVal val="1"/>
              <c:showCatName val="0"/>
              <c:showSerName val="0"/>
              <c:showPercent val="0"/>
              <c:showBubbleSize val="0"/>
            </c:dLbl>
            <c:dLbl>
              <c:idx val="2"/>
              <c:tx>
                <c:rich>
                  <a:bodyPr/>
                  <a:lstStyle/>
                  <a:p>
                    <a:r>
                      <a:rPr>
                        <a:solidFill>
                          <a:srgbClr val="FFFFFF"/>
                        </a:solidFill>
                      </a:rPr>
                      <a:t>14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09.895968</c:v>
                </c:pt>
                <c:pt idx="1">
                  <c:v>391.637769</c:v>
                </c:pt>
                <c:pt idx="2">
                  <c:v>147.85606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936946709395429</c:v>
                </c:pt>
                <c:pt idx="1">
                  <c:v>0.9589150828692261</c:v>
                </c:pt>
                <c:pt idx="2">
                  <c:v>1.172233614447019</c:v>
                </c:pt>
                <c:pt idx="3">
                  <c:v>0.9106209664375116</c:v>
                </c:pt>
                <c:pt idx="4">
                  <c:v>0.994677143554844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3574.107035</c:v>
                </c:pt>
                <c:pt idx="1">
                  <c:v>46.409343</c:v>
                </c:pt>
                <c:pt idx="2">
                  <c:v>62.567512</c:v>
                </c:pt>
                <c:pt idx="3">
                  <c:v>45.635604</c:v>
                </c:pt>
                <c:pt idx="4">
                  <c:v>3728.7194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2.59</a:t>
                    </a:r>
                  </a:p>
                </c:rich>
              </c:tx>
              <c:dLblPos val="t"/>
              <c:showLegendKey val="0"/>
              <c:showVal val="1"/>
              <c:showCatName val="0"/>
              <c:showSerName val="0"/>
              <c:showPercent val="0"/>
              <c:showBubbleSize val="0"/>
            </c:dLbl>
            <c:dLbl>
              <c:idx val="1"/>
              <c:tx>
                <c:rich>
                  <a:bodyPr/>
                  <a:lstStyle/>
                  <a:p>
                    <a:r>
                      <a:t>1150.03</a:t>
                    </a:r>
                  </a:p>
                </c:rich>
              </c:tx>
              <c:dLblPos val="t"/>
              <c:showLegendKey val="0"/>
              <c:showVal val="1"/>
              <c:showCatName val="0"/>
              <c:showSerName val="0"/>
              <c:showPercent val="0"/>
              <c:showBubbleSize val="0"/>
            </c:dLbl>
            <c:dLbl>
              <c:idx val="2"/>
              <c:tx>
                <c:rich>
                  <a:bodyPr/>
                  <a:lstStyle/>
                  <a:p>
                    <a:r>
                      <a:t>6778.71</a:t>
                    </a:r>
                  </a:p>
                </c:rich>
              </c:tx>
              <c:dLblPos val="t"/>
              <c:showLegendKey val="0"/>
              <c:showVal val="1"/>
              <c:showCatName val="0"/>
              <c:showSerName val="0"/>
              <c:showPercent val="0"/>
              <c:showBubbleSize val="0"/>
            </c:dLbl>
            <c:dLbl>
              <c:idx val="3"/>
              <c:tx>
                <c:rich>
                  <a:bodyPr/>
                  <a:lstStyle/>
                  <a:p>
                    <a:r>
                      <a:t>579.65</a:t>
                    </a:r>
                  </a:p>
                </c:rich>
              </c:tx>
              <c:dLblPos val="t"/>
              <c:showLegendKey val="0"/>
              <c:showVal val="1"/>
              <c:showCatName val="0"/>
              <c:showSerName val="0"/>
              <c:showPercent val="0"/>
              <c:showBubbleSize val="0"/>
            </c:dLbl>
            <c:dLbl>
              <c:idx val="4"/>
              <c:tx>
                <c:rich>
                  <a:bodyPr/>
                  <a:lstStyle/>
                  <a:p>
                    <a:r>
                      <a:t>2378.0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2482.5929</c:v>
                </c:pt>
                <c:pt idx="1">
                  <c:v>1150.0271</c:v>
                </c:pt>
                <c:pt idx="2">
                  <c:v>6778.712</c:v>
                </c:pt>
                <c:pt idx="3">
                  <c:v>579.6543</c:v>
                </c:pt>
                <c:pt idx="4">
                  <c:v>2378.03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936946709395429</c:v>
                </c:pt>
                <c:pt idx="1">
                  <c:v>0.9589150828692261</c:v>
                </c:pt>
                <c:pt idx="2">
                  <c:v>1.172233614447019</c:v>
                </c:pt>
                <c:pt idx="3">
                  <c:v>0.9106209664375116</c:v>
                </c:pt>
                <c:pt idx="4">
                  <c:v>0.994677143554844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3574.107035</c:v>
                </c:pt>
                <c:pt idx="1">
                  <c:v>46.409343</c:v>
                </c:pt>
                <c:pt idx="2">
                  <c:v>62.567512</c:v>
                </c:pt>
                <c:pt idx="3">
                  <c:v>45.635604</c:v>
                </c:pt>
                <c:pt idx="4">
                  <c:v>3728.7194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2.59</a:t>
                    </a:r>
                  </a:p>
                </c:rich>
              </c:tx>
              <c:dLblPos val="t"/>
              <c:showLegendKey val="0"/>
              <c:showVal val="1"/>
              <c:showCatName val="0"/>
              <c:showSerName val="0"/>
              <c:showPercent val="0"/>
              <c:showBubbleSize val="0"/>
            </c:dLbl>
            <c:dLbl>
              <c:idx val="1"/>
              <c:tx>
                <c:rich>
                  <a:bodyPr/>
                  <a:lstStyle/>
                  <a:p>
                    <a:r>
                      <a:t>1150.03</a:t>
                    </a:r>
                  </a:p>
                </c:rich>
              </c:tx>
              <c:dLblPos val="t"/>
              <c:showLegendKey val="0"/>
              <c:showVal val="1"/>
              <c:showCatName val="0"/>
              <c:showSerName val="0"/>
              <c:showPercent val="0"/>
              <c:showBubbleSize val="0"/>
            </c:dLbl>
            <c:dLbl>
              <c:idx val="2"/>
              <c:tx>
                <c:rich>
                  <a:bodyPr/>
                  <a:lstStyle/>
                  <a:p>
                    <a:r>
                      <a:t>6778.71</a:t>
                    </a:r>
                  </a:p>
                </c:rich>
              </c:tx>
              <c:dLblPos val="t"/>
              <c:showLegendKey val="0"/>
              <c:showVal val="1"/>
              <c:showCatName val="0"/>
              <c:showSerName val="0"/>
              <c:showPercent val="0"/>
              <c:showBubbleSize val="0"/>
            </c:dLbl>
            <c:dLbl>
              <c:idx val="3"/>
              <c:tx>
                <c:rich>
                  <a:bodyPr/>
                  <a:lstStyle/>
                  <a:p>
                    <a:r>
                      <a:t>579.65</a:t>
                    </a:r>
                  </a:p>
                </c:rich>
              </c:tx>
              <c:dLblPos val="t"/>
              <c:showLegendKey val="0"/>
              <c:showVal val="1"/>
              <c:showCatName val="0"/>
              <c:showSerName val="0"/>
              <c:showPercent val="0"/>
              <c:showBubbleSize val="0"/>
            </c:dLbl>
            <c:dLbl>
              <c:idx val="4"/>
              <c:tx>
                <c:rich>
                  <a:bodyPr/>
                  <a:lstStyle/>
                  <a:p>
                    <a:r>
                      <a:t>2378.0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2482.5929</c:v>
                </c:pt>
                <c:pt idx="1">
                  <c:v>1150.0271</c:v>
                </c:pt>
                <c:pt idx="2">
                  <c:v>6778.712</c:v>
                </c:pt>
                <c:pt idx="3">
                  <c:v>579.6543</c:v>
                </c:pt>
                <c:pt idx="4">
                  <c:v>2378.03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936946709395429</c:v>
                </c:pt>
                <c:pt idx="1">
                  <c:v>0.9589150828692261</c:v>
                </c:pt>
                <c:pt idx="2">
                  <c:v>1.172233614447019</c:v>
                </c:pt>
                <c:pt idx="3">
                  <c:v>0.9106209664375116</c:v>
                </c:pt>
                <c:pt idx="4">
                  <c:v>0.994677143554844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25.065218</c:v>
                </c:pt>
                <c:pt idx="1">
                  <c:v>0.017318</c:v>
                </c:pt>
                <c:pt idx="2">
                  <c:v>0.037742</c:v>
                </c:pt>
                <c:pt idx="3">
                  <c:v>0.3645</c:v>
                </c:pt>
                <c:pt idx="4">
                  <c:v>25.48477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dLbl>
            <c:dLbl>
              <c:idx val="1"/>
              <c:tx>
                <c:rich>
                  <a:bodyPr/>
                  <a:lstStyle/>
                  <a:p>
                    <a:r>
                      <a:t>865.90</a:t>
                    </a:r>
                  </a:p>
                </c:rich>
              </c:tx>
              <c:dLblPos val="t"/>
              <c:showLegendKey val="0"/>
              <c:showVal val="1"/>
              <c:showCatName val="0"/>
              <c:showSerName val="0"/>
              <c:showPercent val="0"/>
              <c:showBubbleSize val="0"/>
            </c:dLbl>
            <c:dLbl>
              <c:idx val="2"/>
              <c:tx>
                <c:rich>
                  <a:bodyPr/>
                  <a:lstStyle/>
                  <a:p>
                    <a:r>
                      <a:t>397.28</a:t>
                    </a:r>
                  </a:p>
                </c:rich>
              </c:tx>
              <c:dLblPos val="t"/>
              <c:showLegendKey val="0"/>
              <c:showVal val="1"/>
              <c:showCatName val="0"/>
              <c:showSerName val="0"/>
              <c:showPercent val="0"/>
              <c:showBubbleSize val="0"/>
            </c:dLbl>
            <c:dLbl>
              <c:idx val="3"/>
              <c:tx>
                <c:rich>
                  <a:bodyPr/>
                  <a:lstStyle/>
                  <a:p>
                    <a:r>
                      <a:t>572.21</a:t>
                    </a:r>
                  </a:p>
                </c:rich>
              </c:tx>
              <c:dLblPos val="t"/>
              <c:showLegendKey val="0"/>
              <c:showVal val="1"/>
              <c:showCatName val="0"/>
              <c:showSerName val="0"/>
              <c:showPercent val="0"/>
              <c:showBubbleSize val="0"/>
            </c:dLbl>
            <c:dLbl>
              <c:idx val="4"/>
              <c:tx>
                <c:rich>
                  <a:bodyPr/>
                  <a:lstStyle/>
                  <a:p>
                    <a:r>
                      <a:t>1307.6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337.7391</c:v>
                </c:pt>
                <c:pt idx="1">
                  <c:v>865.9</c:v>
                </c:pt>
                <c:pt idx="2">
                  <c:v>397.2842</c:v>
                </c:pt>
                <c:pt idx="3">
                  <c:v>572.2135</c:v>
                </c:pt>
                <c:pt idx="4">
                  <c:v>1307.64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7923898234448169</c:v>
                </c:pt>
                <c:pt idx="1">
                  <c:v>0.0</c:v>
                </c:pt>
                <c:pt idx="2">
                  <c:v>0.4957637693914277</c:v>
                </c:pt>
                <c:pt idx="3">
                  <c:v>1.8538957240874205</c:v>
                </c:pt>
                <c:pt idx="4">
                  <c:v>0.79876628164553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25.065218</c:v>
                </c:pt>
                <c:pt idx="1">
                  <c:v>0.017318</c:v>
                </c:pt>
                <c:pt idx="2">
                  <c:v>0.037742</c:v>
                </c:pt>
                <c:pt idx="3">
                  <c:v>0.3645</c:v>
                </c:pt>
                <c:pt idx="4">
                  <c:v>25.48477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dLbl>
            <c:dLbl>
              <c:idx val="1"/>
              <c:tx>
                <c:rich>
                  <a:bodyPr/>
                  <a:lstStyle/>
                  <a:p>
                    <a:r>
                      <a:t>865.90</a:t>
                    </a:r>
                  </a:p>
                </c:rich>
              </c:tx>
              <c:dLblPos val="t"/>
              <c:showLegendKey val="0"/>
              <c:showVal val="1"/>
              <c:showCatName val="0"/>
              <c:showSerName val="0"/>
              <c:showPercent val="0"/>
              <c:showBubbleSize val="0"/>
            </c:dLbl>
            <c:dLbl>
              <c:idx val="2"/>
              <c:tx>
                <c:rich>
                  <a:bodyPr/>
                  <a:lstStyle/>
                  <a:p>
                    <a:r>
                      <a:t>397.28</a:t>
                    </a:r>
                  </a:p>
                </c:rich>
              </c:tx>
              <c:dLblPos val="t"/>
              <c:showLegendKey val="0"/>
              <c:showVal val="1"/>
              <c:showCatName val="0"/>
              <c:showSerName val="0"/>
              <c:showPercent val="0"/>
              <c:showBubbleSize val="0"/>
            </c:dLbl>
            <c:dLbl>
              <c:idx val="3"/>
              <c:tx>
                <c:rich>
                  <a:bodyPr/>
                  <a:lstStyle/>
                  <a:p>
                    <a:r>
                      <a:t>572.21</a:t>
                    </a:r>
                  </a:p>
                </c:rich>
              </c:tx>
              <c:dLblPos val="t"/>
              <c:showLegendKey val="0"/>
              <c:showVal val="1"/>
              <c:showCatName val="0"/>
              <c:showSerName val="0"/>
              <c:showPercent val="0"/>
              <c:showBubbleSize val="0"/>
            </c:dLbl>
            <c:dLbl>
              <c:idx val="4"/>
              <c:tx>
                <c:rich>
                  <a:bodyPr/>
                  <a:lstStyle/>
                  <a:p>
                    <a:r>
                      <a:t>1307.6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337.7391</c:v>
                </c:pt>
                <c:pt idx="1">
                  <c:v>865.9</c:v>
                </c:pt>
                <c:pt idx="2">
                  <c:v>397.2842</c:v>
                </c:pt>
                <c:pt idx="3">
                  <c:v>572.2135</c:v>
                </c:pt>
                <c:pt idx="4">
                  <c:v>1307.64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7923898234448169</c:v>
                </c:pt>
                <c:pt idx="1">
                  <c:v>0.0</c:v>
                </c:pt>
                <c:pt idx="2">
                  <c:v>0.4957637693914277</c:v>
                </c:pt>
                <c:pt idx="3">
                  <c:v>1.8538957240874205</c:v>
                </c:pt>
                <c:pt idx="4">
                  <c:v>0.79876628164553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25.065218</c:v>
                </c:pt>
                <c:pt idx="1">
                  <c:v>0.017318</c:v>
                </c:pt>
                <c:pt idx="2">
                  <c:v>0.037742</c:v>
                </c:pt>
                <c:pt idx="3">
                  <c:v>0.3645</c:v>
                </c:pt>
                <c:pt idx="4">
                  <c:v>25.48477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dLbl>
            <c:dLbl>
              <c:idx val="1"/>
              <c:tx>
                <c:rich>
                  <a:bodyPr/>
                  <a:lstStyle/>
                  <a:p>
                    <a:r>
                      <a:t>865.90</a:t>
                    </a:r>
                  </a:p>
                </c:rich>
              </c:tx>
              <c:dLblPos val="t"/>
              <c:showLegendKey val="0"/>
              <c:showVal val="1"/>
              <c:showCatName val="0"/>
              <c:showSerName val="0"/>
              <c:showPercent val="0"/>
              <c:showBubbleSize val="0"/>
            </c:dLbl>
            <c:dLbl>
              <c:idx val="2"/>
              <c:tx>
                <c:rich>
                  <a:bodyPr/>
                  <a:lstStyle/>
                  <a:p>
                    <a:r>
                      <a:t>397.28</a:t>
                    </a:r>
                  </a:p>
                </c:rich>
              </c:tx>
              <c:dLblPos val="t"/>
              <c:showLegendKey val="0"/>
              <c:showVal val="1"/>
              <c:showCatName val="0"/>
              <c:showSerName val="0"/>
              <c:showPercent val="0"/>
              <c:showBubbleSize val="0"/>
            </c:dLbl>
            <c:dLbl>
              <c:idx val="3"/>
              <c:tx>
                <c:rich>
                  <a:bodyPr/>
                  <a:lstStyle/>
                  <a:p>
                    <a:r>
                      <a:t>572.21</a:t>
                    </a:r>
                  </a:p>
                </c:rich>
              </c:tx>
              <c:dLblPos val="t"/>
              <c:showLegendKey val="0"/>
              <c:showVal val="1"/>
              <c:showCatName val="0"/>
              <c:showSerName val="0"/>
              <c:showPercent val="0"/>
              <c:showBubbleSize val="0"/>
            </c:dLbl>
            <c:dLbl>
              <c:idx val="4"/>
              <c:tx>
                <c:rich>
                  <a:bodyPr/>
                  <a:lstStyle/>
                  <a:p>
                    <a:r>
                      <a:t>1307.6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337.7391</c:v>
                </c:pt>
                <c:pt idx="1">
                  <c:v>865.9</c:v>
                </c:pt>
                <c:pt idx="2">
                  <c:v>397.2842</c:v>
                </c:pt>
                <c:pt idx="3">
                  <c:v>572.2135</c:v>
                </c:pt>
                <c:pt idx="4">
                  <c:v>1307.64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0283</c:v>
                </c:pt>
                <c:pt idx="1">
                  <c:v>0.218936</c:v>
                </c:pt>
                <c:pt idx="2">
                  <c:v>0.0770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7923898234448169</c:v>
                </c:pt>
                <c:pt idx="1">
                  <c:v>0.0</c:v>
                </c:pt>
                <c:pt idx="2">
                  <c:v>0.4957637693914277</c:v>
                </c:pt>
                <c:pt idx="3">
                  <c:v>1.8538957240874205</c:v>
                </c:pt>
                <c:pt idx="4">
                  <c:v>0.79876628164553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25.065218</c:v>
                </c:pt>
                <c:pt idx="1">
                  <c:v>0.017318</c:v>
                </c:pt>
                <c:pt idx="2">
                  <c:v>0.037742</c:v>
                </c:pt>
                <c:pt idx="3">
                  <c:v>0.3645</c:v>
                </c:pt>
                <c:pt idx="4">
                  <c:v>25.48477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dLbl>
            <c:dLbl>
              <c:idx val="1"/>
              <c:tx>
                <c:rich>
                  <a:bodyPr/>
                  <a:lstStyle/>
                  <a:p>
                    <a:r>
                      <a:t>865.90</a:t>
                    </a:r>
                  </a:p>
                </c:rich>
              </c:tx>
              <c:dLblPos val="t"/>
              <c:showLegendKey val="0"/>
              <c:showVal val="1"/>
              <c:showCatName val="0"/>
              <c:showSerName val="0"/>
              <c:showPercent val="0"/>
              <c:showBubbleSize val="0"/>
            </c:dLbl>
            <c:dLbl>
              <c:idx val="2"/>
              <c:tx>
                <c:rich>
                  <a:bodyPr/>
                  <a:lstStyle/>
                  <a:p>
                    <a:r>
                      <a:t>397.28</a:t>
                    </a:r>
                  </a:p>
                </c:rich>
              </c:tx>
              <c:dLblPos val="t"/>
              <c:showLegendKey val="0"/>
              <c:showVal val="1"/>
              <c:showCatName val="0"/>
              <c:showSerName val="0"/>
              <c:showPercent val="0"/>
              <c:showBubbleSize val="0"/>
            </c:dLbl>
            <c:dLbl>
              <c:idx val="3"/>
              <c:tx>
                <c:rich>
                  <a:bodyPr/>
                  <a:lstStyle/>
                  <a:p>
                    <a:r>
                      <a:t>572.21</a:t>
                    </a:r>
                  </a:p>
                </c:rich>
              </c:tx>
              <c:dLblPos val="t"/>
              <c:showLegendKey val="0"/>
              <c:showVal val="1"/>
              <c:showCatName val="0"/>
              <c:showSerName val="0"/>
              <c:showPercent val="0"/>
              <c:showBubbleSize val="0"/>
            </c:dLbl>
            <c:dLbl>
              <c:idx val="4"/>
              <c:tx>
                <c:rich>
                  <a:bodyPr/>
                  <a:lstStyle/>
                  <a:p>
                    <a:r>
                      <a:t>1307.6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337.7391</c:v>
                </c:pt>
                <c:pt idx="1">
                  <c:v>865.9</c:v>
                </c:pt>
                <c:pt idx="2">
                  <c:v>397.2842</c:v>
                </c:pt>
                <c:pt idx="3">
                  <c:v>572.2135</c:v>
                </c:pt>
                <c:pt idx="4">
                  <c:v>1307.64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7923898234448169</c:v>
                </c:pt>
                <c:pt idx="1">
                  <c:v>0.0</c:v>
                </c:pt>
                <c:pt idx="2">
                  <c:v>0.4957637693914277</c:v>
                </c:pt>
                <c:pt idx="3">
                  <c:v>1.8538957240874205</c:v>
                </c:pt>
                <c:pt idx="4">
                  <c:v>0.79876628164553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567.149584</c:v>
                </c:pt>
                <c:pt idx="1">
                  <c:v>32.466256</c:v>
                </c:pt>
                <c:pt idx="2">
                  <c:v>18.931303</c:v>
                </c:pt>
                <c:pt idx="3">
                  <c:v>25.015232</c:v>
                </c:pt>
                <c:pt idx="4">
                  <c:v>1643.5623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22.31</a:t>
                    </a:r>
                  </a:p>
                </c:rich>
              </c:tx>
              <c:dLblPos val="t"/>
              <c:showLegendKey val="0"/>
              <c:showVal val="1"/>
              <c:showCatName val="0"/>
              <c:showSerName val="0"/>
              <c:showPercent val="0"/>
              <c:showBubbleSize val="0"/>
            </c:dLbl>
            <c:dLbl>
              <c:idx val="1"/>
              <c:tx>
                <c:rich>
                  <a:bodyPr/>
                  <a:lstStyle/>
                  <a:p>
                    <a:r>
                      <a:t>1116.29</a:t>
                    </a:r>
                  </a:p>
                </c:rich>
              </c:tx>
              <c:dLblPos val="t"/>
              <c:showLegendKey val="0"/>
              <c:showVal val="1"/>
              <c:showCatName val="0"/>
              <c:showSerName val="0"/>
              <c:showPercent val="0"/>
              <c:showBubbleSize val="0"/>
            </c:dLbl>
            <c:dLbl>
              <c:idx val="2"/>
              <c:tx>
                <c:rich>
                  <a:bodyPr/>
                  <a:lstStyle/>
                  <a:p>
                    <a:r>
                      <a:t>4988.49</a:t>
                    </a:r>
                  </a:p>
                </c:rich>
              </c:tx>
              <c:dLblPos val="t"/>
              <c:showLegendKey val="0"/>
              <c:showVal val="1"/>
              <c:showCatName val="0"/>
              <c:showSerName val="0"/>
              <c:showPercent val="0"/>
              <c:showBubbleSize val="0"/>
            </c:dLbl>
            <c:dLbl>
              <c:idx val="3"/>
              <c:tx>
                <c:rich>
                  <a:bodyPr/>
                  <a:lstStyle/>
                  <a:p>
                    <a:r>
                      <a:t>577.77</a:t>
                    </a:r>
                  </a:p>
                </c:rich>
              </c:tx>
              <c:dLblPos val="t"/>
              <c:showLegendKey val="0"/>
              <c:showVal val="1"/>
              <c:showCatName val="0"/>
              <c:showSerName val="0"/>
              <c:showPercent val="0"/>
              <c:showBubbleSize val="0"/>
            </c:dLbl>
            <c:dLbl>
              <c:idx val="4"/>
              <c:tx>
                <c:rich>
                  <a:bodyPr/>
                  <a:lstStyle/>
                  <a:p>
                    <a:r>
                      <a:t>1577.0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622.3114</c:v>
                </c:pt>
                <c:pt idx="1">
                  <c:v>1116.2927</c:v>
                </c:pt>
                <c:pt idx="2">
                  <c:v>4988.4856</c:v>
                </c:pt>
                <c:pt idx="3">
                  <c:v>577.7724</c:v>
                </c:pt>
                <c:pt idx="4">
                  <c:v>1577.05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592804667515796</c:v>
                </c:pt>
                <c:pt idx="1">
                  <c:v>0.9486235541610808</c:v>
                </c:pt>
                <c:pt idx="2">
                  <c:v>1.158538970556287</c:v>
                </c:pt>
                <c:pt idx="3">
                  <c:v>0.9109414506233892</c:v>
                </c:pt>
                <c:pt idx="4">
                  <c:v>0.96019409645146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567.149584</c:v>
                </c:pt>
                <c:pt idx="1">
                  <c:v>32.466256</c:v>
                </c:pt>
                <c:pt idx="2">
                  <c:v>18.931303</c:v>
                </c:pt>
                <c:pt idx="3">
                  <c:v>25.015232</c:v>
                </c:pt>
                <c:pt idx="4">
                  <c:v>1643.5623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22.31</a:t>
                    </a:r>
                  </a:p>
                </c:rich>
              </c:tx>
              <c:dLblPos val="t"/>
              <c:showLegendKey val="0"/>
              <c:showVal val="1"/>
              <c:showCatName val="0"/>
              <c:showSerName val="0"/>
              <c:showPercent val="0"/>
              <c:showBubbleSize val="0"/>
            </c:dLbl>
            <c:dLbl>
              <c:idx val="1"/>
              <c:tx>
                <c:rich>
                  <a:bodyPr/>
                  <a:lstStyle/>
                  <a:p>
                    <a:r>
                      <a:t>1116.29</a:t>
                    </a:r>
                  </a:p>
                </c:rich>
              </c:tx>
              <c:dLblPos val="t"/>
              <c:showLegendKey val="0"/>
              <c:showVal val="1"/>
              <c:showCatName val="0"/>
              <c:showSerName val="0"/>
              <c:showPercent val="0"/>
              <c:showBubbleSize val="0"/>
            </c:dLbl>
            <c:dLbl>
              <c:idx val="2"/>
              <c:tx>
                <c:rich>
                  <a:bodyPr/>
                  <a:lstStyle/>
                  <a:p>
                    <a:r>
                      <a:t>4988.49</a:t>
                    </a:r>
                  </a:p>
                </c:rich>
              </c:tx>
              <c:dLblPos val="t"/>
              <c:showLegendKey val="0"/>
              <c:showVal val="1"/>
              <c:showCatName val="0"/>
              <c:showSerName val="0"/>
              <c:showPercent val="0"/>
              <c:showBubbleSize val="0"/>
            </c:dLbl>
            <c:dLbl>
              <c:idx val="3"/>
              <c:tx>
                <c:rich>
                  <a:bodyPr/>
                  <a:lstStyle/>
                  <a:p>
                    <a:r>
                      <a:t>577.77</a:t>
                    </a:r>
                  </a:p>
                </c:rich>
              </c:tx>
              <c:dLblPos val="t"/>
              <c:showLegendKey val="0"/>
              <c:showVal val="1"/>
              <c:showCatName val="0"/>
              <c:showSerName val="0"/>
              <c:showPercent val="0"/>
              <c:showBubbleSize val="0"/>
            </c:dLbl>
            <c:dLbl>
              <c:idx val="4"/>
              <c:tx>
                <c:rich>
                  <a:bodyPr/>
                  <a:lstStyle/>
                  <a:p>
                    <a:r>
                      <a:t>1577.0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622.3114</c:v>
                </c:pt>
                <c:pt idx="1">
                  <c:v>1116.2927</c:v>
                </c:pt>
                <c:pt idx="2">
                  <c:v>4988.4856</c:v>
                </c:pt>
                <c:pt idx="3">
                  <c:v>577.7724</c:v>
                </c:pt>
                <c:pt idx="4">
                  <c:v>1577.05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592804667515796</c:v>
                </c:pt>
                <c:pt idx="1">
                  <c:v>0.9486235541610808</c:v>
                </c:pt>
                <c:pt idx="2">
                  <c:v>1.158538970556287</c:v>
                </c:pt>
                <c:pt idx="3">
                  <c:v>0.9109414506233892</c:v>
                </c:pt>
                <c:pt idx="4">
                  <c:v>0.96019409645146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567.149584</c:v>
                </c:pt>
                <c:pt idx="1">
                  <c:v>32.466256</c:v>
                </c:pt>
                <c:pt idx="2">
                  <c:v>18.931303</c:v>
                </c:pt>
                <c:pt idx="3">
                  <c:v>25.015232</c:v>
                </c:pt>
                <c:pt idx="4">
                  <c:v>1643.5623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22.31</a:t>
                    </a:r>
                  </a:p>
                </c:rich>
              </c:tx>
              <c:dLblPos val="t"/>
              <c:showLegendKey val="0"/>
              <c:showVal val="1"/>
              <c:showCatName val="0"/>
              <c:showSerName val="0"/>
              <c:showPercent val="0"/>
              <c:showBubbleSize val="0"/>
            </c:dLbl>
            <c:dLbl>
              <c:idx val="1"/>
              <c:tx>
                <c:rich>
                  <a:bodyPr/>
                  <a:lstStyle/>
                  <a:p>
                    <a:r>
                      <a:t>1116.29</a:t>
                    </a:r>
                  </a:p>
                </c:rich>
              </c:tx>
              <c:dLblPos val="t"/>
              <c:showLegendKey val="0"/>
              <c:showVal val="1"/>
              <c:showCatName val="0"/>
              <c:showSerName val="0"/>
              <c:showPercent val="0"/>
              <c:showBubbleSize val="0"/>
            </c:dLbl>
            <c:dLbl>
              <c:idx val="2"/>
              <c:tx>
                <c:rich>
                  <a:bodyPr/>
                  <a:lstStyle/>
                  <a:p>
                    <a:r>
                      <a:t>4988.49</a:t>
                    </a:r>
                  </a:p>
                </c:rich>
              </c:tx>
              <c:dLblPos val="t"/>
              <c:showLegendKey val="0"/>
              <c:showVal val="1"/>
              <c:showCatName val="0"/>
              <c:showSerName val="0"/>
              <c:showPercent val="0"/>
              <c:showBubbleSize val="0"/>
            </c:dLbl>
            <c:dLbl>
              <c:idx val="3"/>
              <c:tx>
                <c:rich>
                  <a:bodyPr/>
                  <a:lstStyle/>
                  <a:p>
                    <a:r>
                      <a:t>577.77</a:t>
                    </a:r>
                  </a:p>
                </c:rich>
              </c:tx>
              <c:dLblPos val="t"/>
              <c:showLegendKey val="0"/>
              <c:showVal val="1"/>
              <c:showCatName val="0"/>
              <c:showSerName val="0"/>
              <c:showPercent val="0"/>
              <c:showBubbleSize val="0"/>
            </c:dLbl>
            <c:dLbl>
              <c:idx val="4"/>
              <c:tx>
                <c:rich>
                  <a:bodyPr/>
                  <a:lstStyle/>
                  <a:p>
                    <a:r>
                      <a:t>1577.0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622.3114</c:v>
                </c:pt>
                <c:pt idx="1">
                  <c:v>1116.2927</c:v>
                </c:pt>
                <c:pt idx="2">
                  <c:v>4988.4856</c:v>
                </c:pt>
                <c:pt idx="3">
                  <c:v>577.7724</c:v>
                </c:pt>
                <c:pt idx="4">
                  <c:v>1577.05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592804667515796</c:v>
                </c:pt>
                <c:pt idx="1">
                  <c:v>0.9486235541610808</c:v>
                </c:pt>
                <c:pt idx="2">
                  <c:v>1.158538970556287</c:v>
                </c:pt>
                <c:pt idx="3">
                  <c:v>0.9109414506233892</c:v>
                </c:pt>
                <c:pt idx="4">
                  <c:v>0.96019409645146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567.149584</c:v>
                </c:pt>
                <c:pt idx="1">
                  <c:v>32.466256</c:v>
                </c:pt>
                <c:pt idx="2">
                  <c:v>18.931303</c:v>
                </c:pt>
                <c:pt idx="3">
                  <c:v>25.015232</c:v>
                </c:pt>
                <c:pt idx="4">
                  <c:v>1643.5623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22.31</a:t>
                    </a:r>
                  </a:p>
                </c:rich>
              </c:tx>
              <c:dLblPos val="t"/>
              <c:showLegendKey val="0"/>
              <c:showVal val="1"/>
              <c:showCatName val="0"/>
              <c:showSerName val="0"/>
              <c:showPercent val="0"/>
              <c:showBubbleSize val="0"/>
            </c:dLbl>
            <c:dLbl>
              <c:idx val="1"/>
              <c:tx>
                <c:rich>
                  <a:bodyPr/>
                  <a:lstStyle/>
                  <a:p>
                    <a:r>
                      <a:t>1116.29</a:t>
                    </a:r>
                  </a:p>
                </c:rich>
              </c:tx>
              <c:dLblPos val="t"/>
              <c:showLegendKey val="0"/>
              <c:showVal val="1"/>
              <c:showCatName val="0"/>
              <c:showSerName val="0"/>
              <c:showPercent val="0"/>
              <c:showBubbleSize val="0"/>
            </c:dLbl>
            <c:dLbl>
              <c:idx val="2"/>
              <c:tx>
                <c:rich>
                  <a:bodyPr/>
                  <a:lstStyle/>
                  <a:p>
                    <a:r>
                      <a:t>4988.49</a:t>
                    </a:r>
                  </a:p>
                </c:rich>
              </c:tx>
              <c:dLblPos val="t"/>
              <c:showLegendKey val="0"/>
              <c:showVal val="1"/>
              <c:showCatName val="0"/>
              <c:showSerName val="0"/>
              <c:showPercent val="0"/>
              <c:showBubbleSize val="0"/>
            </c:dLbl>
            <c:dLbl>
              <c:idx val="3"/>
              <c:tx>
                <c:rich>
                  <a:bodyPr/>
                  <a:lstStyle/>
                  <a:p>
                    <a:r>
                      <a:t>577.77</a:t>
                    </a:r>
                  </a:p>
                </c:rich>
              </c:tx>
              <c:dLblPos val="t"/>
              <c:showLegendKey val="0"/>
              <c:showVal val="1"/>
              <c:showCatName val="0"/>
              <c:showSerName val="0"/>
              <c:showPercent val="0"/>
              <c:showBubbleSize val="0"/>
            </c:dLbl>
            <c:dLbl>
              <c:idx val="4"/>
              <c:tx>
                <c:rich>
                  <a:bodyPr/>
                  <a:lstStyle/>
                  <a:p>
                    <a:r>
                      <a:t>1577.0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622.3114</c:v>
                </c:pt>
                <c:pt idx="1">
                  <c:v>1116.2927</c:v>
                </c:pt>
                <c:pt idx="2">
                  <c:v>4988.4856</c:v>
                </c:pt>
                <c:pt idx="3">
                  <c:v>577.7724</c:v>
                </c:pt>
                <c:pt idx="4">
                  <c:v>1577.05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244.5</a:t>
                    </a:r>
                  </a:p>
                </c:rich>
              </c:tx>
              <c:showLegendKey val="0"/>
              <c:showVal val="1"/>
              <c:showCatName val="0"/>
              <c:showSerName val="0"/>
              <c:showPercent val="0"/>
              <c:showBubbleSize val="0"/>
            </c:dLbl>
            <c:dLbl>
              <c:idx val="1"/>
              <c:tx>
                <c:rich>
                  <a:bodyPr/>
                  <a:lstStyle/>
                  <a:p>
                    <a:r>
                      <a:rPr>
                        <a:solidFill>
                          <a:srgbClr val="FFFFFF"/>
                        </a:solidFill>
                      </a:rPr>
                      <a:t>235.4</a:t>
                    </a:r>
                  </a:p>
                </c:rich>
              </c:tx>
              <c:showLegendKey val="0"/>
              <c:showVal val="1"/>
              <c:showCatName val="0"/>
              <c:showSerName val="0"/>
              <c:showPercent val="0"/>
              <c:showBubbleSize val="0"/>
            </c:dLbl>
            <c:dLbl>
              <c:idx val="2"/>
              <c:tx>
                <c:rich>
                  <a:bodyPr/>
                  <a:lstStyle/>
                  <a:p>
                    <a:r>
                      <a:rPr>
                        <a:solidFill>
                          <a:srgbClr val="FFFFFF"/>
                        </a:solidFill>
                      </a:rPr>
                      <a:t>8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44.547146</c:v>
                </c:pt>
                <c:pt idx="1">
                  <c:v>235.412024</c:v>
                </c:pt>
                <c:pt idx="2">
                  <c:v>82.0582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0.9592804667515796</c:v>
                </c:pt>
                <c:pt idx="1">
                  <c:v>0.9486235541610808</c:v>
                </c:pt>
                <c:pt idx="2">
                  <c:v>1.158538970556287</c:v>
                </c:pt>
                <c:pt idx="3">
                  <c:v>0.9109414506233892</c:v>
                </c:pt>
                <c:pt idx="4">
                  <c:v>0.96019409645146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52.887379</c:v>
                </c:pt>
                <c:pt idx="1">
                  <c:v>5.921789</c:v>
                </c:pt>
                <c:pt idx="2">
                  <c:v>0.001597</c:v>
                </c:pt>
                <c:pt idx="3">
                  <c:v>6.196507</c:v>
                </c:pt>
                <c:pt idx="4">
                  <c:v>165.0072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8.89</a:t>
                    </a:r>
                  </a:p>
                </c:rich>
              </c:tx>
              <c:dLblPos val="t"/>
              <c:showLegendKey val="0"/>
              <c:showVal val="1"/>
              <c:showCatName val="0"/>
              <c:showSerName val="0"/>
              <c:showPercent val="0"/>
              <c:showBubbleSize val="0"/>
            </c:dLbl>
            <c:dLbl>
              <c:idx val="1"/>
              <c:tx>
                <c:rich>
                  <a:bodyPr/>
                  <a:lstStyle/>
                  <a:p>
                    <a:r>
                      <a:t>992.92</a:t>
                    </a:r>
                  </a:p>
                </c:rich>
              </c:tx>
              <c:dLblPos val="t"/>
              <c:showLegendKey val="0"/>
              <c:showVal val="1"/>
              <c:showCatName val="0"/>
              <c:showSerName val="0"/>
              <c:showPercent val="0"/>
              <c:showBubbleSize val="0"/>
            </c:dLbl>
            <c:dLbl>
              <c:idx val="2"/>
              <c:tx>
                <c:rich>
                  <a:bodyPr/>
                  <a:lstStyle/>
                  <a:p>
                    <a:r>
                      <a:t>399.25</a:t>
                    </a:r>
                  </a:p>
                </c:rich>
              </c:tx>
              <c:dLblPos val="t"/>
              <c:showLegendKey val="0"/>
              <c:showVal val="1"/>
              <c:showCatName val="0"/>
              <c:showSerName val="0"/>
              <c:showPercent val="0"/>
              <c:showBubbleSize val="0"/>
            </c:dLbl>
            <c:dLbl>
              <c:idx val="3"/>
              <c:tx>
                <c:rich>
                  <a:bodyPr/>
                  <a:lstStyle/>
                  <a:p>
                    <a:r>
                      <a:t>491.90</a:t>
                    </a:r>
                  </a:p>
                </c:rich>
              </c:tx>
              <c:dLblPos val="t"/>
              <c:showLegendKey val="0"/>
              <c:showVal val="1"/>
              <c:showCatName val="0"/>
              <c:showSerName val="0"/>
              <c:showPercent val="0"/>
              <c:showBubbleSize val="0"/>
            </c:dLbl>
            <c:dLbl>
              <c:idx val="4"/>
              <c:tx>
                <c:rich>
                  <a:bodyPr/>
                  <a:lstStyle/>
                  <a:p>
                    <a:r>
                      <a:t>1079.8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138.8938</c:v>
                </c:pt>
                <c:pt idx="1">
                  <c:v>992.9224</c:v>
                </c:pt>
                <c:pt idx="2">
                  <c:v>399.25</c:v>
                </c:pt>
                <c:pt idx="3">
                  <c:v>491.9034</c:v>
                </c:pt>
                <c:pt idx="4">
                  <c:v>1079.841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0061104837226413</c:v>
                </c:pt>
                <c:pt idx="1">
                  <c:v>0.9244499818366113</c:v>
                </c:pt>
                <c:pt idx="2">
                  <c:v>0.0020734820215995283</c:v>
                </c:pt>
                <c:pt idx="3">
                  <c:v>0.9751537126301659</c:v>
                </c:pt>
                <c:pt idx="4">
                  <c:v>0.997088027003966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52.887379</c:v>
                </c:pt>
                <c:pt idx="1">
                  <c:v>5.921789</c:v>
                </c:pt>
                <c:pt idx="2">
                  <c:v>0.001597</c:v>
                </c:pt>
                <c:pt idx="3">
                  <c:v>6.196507</c:v>
                </c:pt>
                <c:pt idx="4">
                  <c:v>165.0072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8.89</a:t>
                    </a:r>
                  </a:p>
                </c:rich>
              </c:tx>
              <c:dLblPos val="t"/>
              <c:showLegendKey val="0"/>
              <c:showVal val="1"/>
              <c:showCatName val="0"/>
              <c:showSerName val="0"/>
              <c:showPercent val="0"/>
              <c:showBubbleSize val="0"/>
            </c:dLbl>
            <c:dLbl>
              <c:idx val="1"/>
              <c:tx>
                <c:rich>
                  <a:bodyPr/>
                  <a:lstStyle/>
                  <a:p>
                    <a:r>
                      <a:t>992.92</a:t>
                    </a:r>
                  </a:p>
                </c:rich>
              </c:tx>
              <c:dLblPos val="t"/>
              <c:showLegendKey val="0"/>
              <c:showVal val="1"/>
              <c:showCatName val="0"/>
              <c:showSerName val="0"/>
              <c:showPercent val="0"/>
              <c:showBubbleSize val="0"/>
            </c:dLbl>
            <c:dLbl>
              <c:idx val="2"/>
              <c:tx>
                <c:rich>
                  <a:bodyPr/>
                  <a:lstStyle/>
                  <a:p>
                    <a:r>
                      <a:t>399.25</a:t>
                    </a:r>
                  </a:p>
                </c:rich>
              </c:tx>
              <c:dLblPos val="t"/>
              <c:showLegendKey val="0"/>
              <c:showVal val="1"/>
              <c:showCatName val="0"/>
              <c:showSerName val="0"/>
              <c:showPercent val="0"/>
              <c:showBubbleSize val="0"/>
            </c:dLbl>
            <c:dLbl>
              <c:idx val="3"/>
              <c:tx>
                <c:rich>
                  <a:bodyPr/>
                  <a:lstStyle/>
                  <a:p>
                    <a:r>
                      <a:t>491.90</a:t>
                    </a:r>
                  </a:p>
                </c:rich>
              </c:tx>
              <c:dLblPos val="t"/>
              <c:showLegendKey val="0"/>
              <c:showVal val="1"/>
              <c:showCatName val="0"/>
              <c:showSerName val="0"/>
              <c:showPercent val="0"/>
              <c:showBubbleSize val="0"/>
            </c:dLbl>
            <c:dLbl>
              <c:idx val="4"/>
              <c:tx>
                <c:rich>
                  <a:bodyPr/>
                  <a:lstStyle/>
                  <a:p>
                    <a:r>
                      <a:t>1079.8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138.8938</c:v>
                </c:pt>
                <c:pt idx="1">
                  <c:v>992.9224</c:v>
                </c:pt>
                <c:pt idx="2">
                  <c:v>399.25</c:v>
                </c:pt>
                <c:pt idx="3">
                  <c:v>491.9034</c:v>
                </c:pt>
                <c:pt idx="4">
                  <c:v>1079.841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0061104837226413</c:v>
                </c:pt>
                <c:pt idx="1">
                  <c:v>0.9244499818366113</c:v>
                </c:pt>
                <c:pt idx="2">
                  <c:v>0.0020734820215995283</c:v>
                </c:pt>
                <c:pt idx="3">
                  <c:v>0.9751537126301659</c:v>
                </c:pt>
                <c:pt idx="4">
                  <c:v>0.997088027003966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52.887379</c:v>
                </c:pt>
                <c:pt idx="1">
                  <c:v>5.921789</c:v>
                </c:pt>
                <c:pt idx="2">
                  <c:v>0.001597</c:v>
                </c:pt>
                <c:pt idx="3">
                  <c:v>6.196507</c:v>
                </c:pt>
                <c:pt idx="4">
                  <c:v>165.0072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8.89</a:t>
                    </a:r>
                  </a:p>
                </c:rich>
              </c:tx>
              <c:dLblPos val="t"/>
              <c:showLegendKey val="0"/>
              <c:showVal val="1"/>
              <c:showCatName val="0"/>
              <c:showSerName val="0"/>
              <c:showPercent val="0"/>
              <c:showBubbleSize val="0"/>
            </c:dLbl>
            <c:dLbl>
              <c:idx val="1"/>
              <c:tx>
                <c:rich>
                  <a:bodyPr/>
                  <a:lstStyle/>
                  <a:p>
                    <a:r>
                      <a:t>992.92</a:t>
                    </a:r>
                  </a:p>
                </c:rich>
              </c:tx>
              <c:dLblPos val="t"/>
              <c:showLegendKey val="0"/>
              <c:showVal val="1"/>
              <c:showCatName val="0"/>
              <c:showSerName val="0"/>
              <c:showPercent val="0"/>
              <c:showBubbleSize val="0"/>
            </c:dLbl>
            <c:dLbl>
              <c:idx val="2"/>
              <c:tx>
                <c:rich>
                  <a:bodyPr/>
                  <a:lstStyle/>
                  <a:p>
                    <a:r>
                      <a:t>399.25</a:t>
                    </a:r>
                  </a:p>
                </c:rich>
              </c:tx>
              <c:dLblPos val="t"/>
              <c:showLegendKey val="0"/>
              <c:showVal val="1"/>
              <c:showCatName val="0"/>
              <c:showSerName val="0"/>
              <c:showPercent val="0"/>
              <c:showBubbleSize val="0"/>
            </c:dLbl>
            <c:dLbl>
              <c:idx val="3"/>
              <c:tx>
                <c:rich>
                  <a:bodyPr/>
                  <a:lstStyle/>
                  <a:p>
                    <a:r>
                      <a:t>491.90</a:t>
                    </a:r>
                  </a:p>
                </c:rich>
              </c:tx>
              <c:dLblPos val="t"/>
              <c:showLegendKey val="0"/>
              <c:showVal val="1"/>
              <c:showCatName val="0"/>
              <c:showSerName val="0"/>
              <c:showPercent val="0"/>
              <c:showBubbleSize val="0"/>
            </c:dLbl>
            <c:dLbl>
              <c:idx val="4"/>
              <c:tx>
                <c:rich>
                  <a:bodyPr/>
                  <a:lstStyle/>
                  <a:p>
                    <a:r>
                      <a:t>1079.8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138.8938</c:v>
                </c:pt>
                <c:pt idx="1">
                  <c:v>992.9224</c:v>
                </c:pt>
                <c:pt idx="2">
                  <c:v>399.25</c:v>
                </c:pt>
                <c:pt idx="3">
                  <c:v>491.9034</c:v>
                </c:pt>
                <c:pt idx="4">
                  <c:v>1079.841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0061104837226413</c:v>
                </c:pt>
                <c:pt idx="1">
                  <c:v>0.9244499818366113</c:v>
                </c:pt>
                <c:pt idx="2">
                  <c:v>0.0020734820215995283</c:v>
                </c:pt>
                <c:pt idx="3">
                  <c:v>0.9751537126301659</c:v>
                </c:pt>
                <c:pt idx="4">
                  <c:v>0.997088027003966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52.887379</c:v>
                </c:pt>
                <c:pt idx="1">
                  <c:v>5.921789</c:v>
                </c:pt>
                <c:pt idx="2">
                  <c:v>0.001597</c:v>
                </c:pt>
                <c:pt idx="3">
                  <c:v>6.196507</c:v>
                </c:pt>
                <c:pt idx="4">
                  <c:v>165.0072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8.89</a:t>
                    </a:r>
                  </a:p>
                </c:rich>
              </c:tx>
              <c:dLblPos val="t"/>
              <c:showLegendKey val="0"/>
              <c:showVal val="1"/>
              <c:showCatName val="0"/>
              <c:showSerName val="0"/>
              <c:showPercent val="0"/>
              <c:showBubbleSize val="0"/>
            </c:dLbl>
            <c:dLbl>
              <c:idx val="1"/>
              <c:tx>
                <c:rich>
                  <a:bodyPr/>
                  <a:lstStyle/>
                  <a:p>
                    <a:r>
                      <a:t>992.92</a:t>
                    </a:r>
                  </a:p>
                </c:rich>
              </c:tx>
              <c:dLblPos val="t"/>
              <c:showLegendKey val="0"/>
              <c:showVal val="1"/>
              <c:showCatName val="0"/>
              <c:showSerName val="0"/>
              <c:showPercent val="0"/>
              <c:showBubbleSize val="0"/>
            </c:dLbl>
            <c:dLbl>
              <c:idx val="2"/>
              <c:tx>
                <c:rich>
                  <a:bodyPr/>
                  <a:lstStyle/>
                  <a:p>
                    <a:r>
                      <a:t>399.25</a:t>
                    </a:r>
                  </a:p>
                </c:rich>
              </c:tx>
              <c:dLblPos val="t"/>
              <c:showLegendKey val="0"/>
              <c:showVal val="1"/>
              <c:showCatName val="0"/>
              <c:showSerName val="0"/>
              <c:showPercent val="0"/>
              <c:showBubbleSize val="0"/>
            </c:dLbl>
            <c:dLbl>
              <c:idx val="3"/>
              <c:tx>
                <c:rich>
                  <a:bodyPr/>
                  <a:lstStyle/>
                  <a:p>
                    <a:r>
                      <a:t>491.90</a:t>
                    </a:r>
                  </a:p>
                </c:rich>
              </c:tx>
              <c:dLblPos val="t"/>
              <c:showLegendKey val="0"/>
              <c:showVal val="1"/>
              <c:showCatName val="0"/>
              <c:showSerName val="0"/>
              <c:showPercent val="0"/>
              <c:showBubbleSize val="0"/>
            </c:dLbl>
            <c:dLbl>
              <c:idx val="4"/>
              <c:tx>
                <c:rich>
                  <a:bodyPr/>
                  <a:lstStyle/>
                  <a:p>
                    <a:r>
                      <a:t>1079.8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C$2:$C$6</c:f>
              <c:numCache>
                <c:formatCode>General</c:formatCode>
                <c:ptCount val="5"/>
                <c:pt idx="0">
                  <c:v>1138.8938</c:v>
                </c:pt>
                <c:pt idx="1">
                  <c:v>992.9224</c:v>
                </c:pt>
                <c:pt idx="2">
                  <c:v>399.25</c:v>
                </c:pt>
                <c:pt idx="3">
                  <c:v>491.9034</c:v>
                </c:pt>
                <c:pt idx="4">
                  <c:v>1079.841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nscreen</c:v>
                </c:pt>
                <c:pt idx="1">
                  <c:v>Tanning</c:v>
                </c:pt>
                <c:pt idx="2">
                  <c:v>Banded Pack</c:v>
                </c:pt>
                <c:pt idx="3">
                  <c:v>After Sun</c:v>
                </c:pt>
                <c:pt idx="4">
                  <c:v>Grand Total</c:v>
                </c:pt>
              </c:strCache>
            </c:strRef>
          </c:cat>
          <c:val>
            <c:numRef>
              <c:f>Sheet1!$B$2:$B$6</c:f>
              <c:numCache>
                <c:formatCode>General</c:formatCode>
                <c:ptCount val="5"/>
                <c:pt idx="0">
                  <c:v>1.0061104837226413</c:v>
                </c:pt>
                <c:pt idx="1">
                  <c:v>0.9244499818366113</c:v>
                </c:pt>
                <c:pt idx="2">
                  <c:v>0.0020734820215995283</c:v>
                </c:pt>
                <c:pt idx="3">
                  <c:v>0.9751537126301659</c:v>
                </c:pt>
                <c:pt idx="4">
                  <c:v>0.997088027003966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50.795042</c:v>
                </c:pt>
                <c:pt idx="1">
                  <c:v>0.852141</c:v>
                </c:pt>
                <c:pt idx="2">
                  <c:v>1.123068</c:v>
                </c:pt>
                <c:pt idx="3">
                  <c:v>52.77025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7.89</a:t>
                    </a:r>
                  </a:p>
                </c:rich>
              </c:tx>
              <c:dLblPos val="t"/>
              <c:showLegendKey val="0"/>
              <c:showVal val="1"/>
              <c:showCatName val="0"/>
              <c:showSerName val="0"/>
              <c:showPercent val="0"/>
              <c:showBubbleSize val="0"/>
            </c:dLbl>
            <c:dLbl>
              <c:idx val="1"/>
              <c:tx>
                <c:rich>
                  <a:bodyPr/>
                  <a:lstStyle/>
                  <a:p>
                    <a:r>
                      <a:t>800.88</a:t>
                    </a:r>
                  </a:p>
                </c:rich>
              </c:tx>
              <c:dLblPos val="t"/>
              <c:showLegendKey val="0"/>
              <c:showVal val="1"/>
              <c:showCatName val="0"/>
              <c:showSerName val="0"/>
              <c:showPercent val="0"/>
              <c:showBubbleSize val="0"/>
            </c:dLbl>
            <c:dLbl>
              <c:idx val="2"/>
              <c:tx>
                <c:rich>
                  <a:bodyPr/>
                  <a:lstStyle/>
                  <a:p>
                    <a:r>
                      <a:t>479.33</a:t>
                    </a:r>
                  </a:p>
                </c:rich>
              </c:tx>
              <c:dLblPos val="t"/>
              <c:showLegendKey val="0"/>
              <c:showVal val="1"/>
              <c:showCatName val="0"/>
              <c:showSerName val="0"/>
              <c:showPercent val="0"/>
              <c:showBubbleSize val="0"/>
            </c:dLbl>
            <c:dLbl>
              <c:idx val="3"/>
              <c:tx>
                <c:rich>
                  <a:bodyPr/>
                  <a:lstStyle/>
                  <a:p>
                    <a:r>
                      <a:t>944.2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967.8933</c:v>
                </c:pt>
                <c:pt idx="1">
                  <c:v>800.8844</c:v>
                </c:pt>
                <c:pt idx="2">
                  <c:v>479.3291</c:v>
                </c:pt>
                <c:pt idx="3">
                  <c:v>944.231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01004</c:v>
                </c:pt>
                <c:pt idx="1">
                  <c:v>0.466902</c:v>
                </c:pt>
                <c:pt idx="2">
                  <c:v>0.16636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83704</c:v>
                </c:pt>
                <c:pt idx="1">
                  <c:v>0.51625</c:v>
                </c:pt>
                <c:pt idx="2">
                  <c:v>0.1864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7401</c:v>
                </c:pt>
                <c:pt idx="1">
                  <c:v>0.088258</c:v>
                </c:pt>
                <c:pt idx="2">
                  <c:v>0.0281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7739</c:v>
                </c:pt>
                <c:pt idx="1">
                  <c:v>0.048602</c:v>
                </c:pt>
                <c:pt idx="2">
                  <c:v>0.02120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8693</c:v>
                </c:pt>
                <c:pt idx="1">
                  <c:v>0.025463</c:v>
                </c:pt>
                <c:pt idx="2">
                  <c:v>0.00884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9192</c:v>
                </c:pt>
                <c:pt idx="1">
                  <c:v>0.047458</c:v>
                </c:pt>
                <c:pt idx="2">
                  <c:v>0.0166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4091</c:v>
                </c:pt>
                <c:pt idx="1">
                  <c:v>0.013872</c:v>
                </c:pt>
                <c:pt idx="2">
                  <c:v>0.00448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7507</c:v>
                </c:pt>
                <c:pt idx="1">
                  <c:v>0.008672</c:v>
                </c:pt>
                <c:pt idx="2">
                  <c:v>0.00302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1526</c:v>
                </c:pt>
                <c:pt idx="1">
                  <c:v>0.13397</c:v>
                </c:pt>
                <c:pt idx="2">
                  <c:v>0.04096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08036</c:v>
                </c:pt>
                <c:pt idx="1">
                  <c:v>0.148925</c:v>
                </c:pt>
                <c:pt idx="2">
                  <c:v>0.05947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7954395878657001</c:v>
                </c:pt>
                <c:pt idx="1">
                  <c:v>0.7752727107310194</c:v>
                </c:pt>
                <c:pt idx="2">
                  <c:v>1.3583128429592737</c:v>
                </c:pt>
                <c:pt idx="3">
                  <c:v>0.802177165662067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50.795042</c:v>
                </c:pt>
                <c:pt idx="1">
                  <c:v>0.852141</c:v>
                </c:pt>
                <c:pt idx="2">
                  <c:v>1.123068</c:v>
                </c:pt>
                <c:pt idx="3">
                  <c:v>52.77025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7.89</a:t>
                    </a:r>
                  </a:p>
                </c:rich>
              </c:tx>
              <c:dLblPos val="t"/>
              <c:showLegendKey val="0"/>
              <c:showVal val="1"/>
              <c:showCatName val="0"/>
              <c:showSerName val="0"/>
              <c:showPercent val="0"/>
              <c:showBubbleSize val="0"/>
            </c:dLbl>
            <c:dLbl>
              <c:idx val="1"/>
              <c:tx>
                <c:rich>
                  <a:bodyPr/>
                  <a:lstStyle/>
                  <a:p>
                    <a:r>
                      <a:t>800.88</a:t>
                    </a:r>
                  </a:p>
                </c:rich>
              </c:tx>
              <c:dLblPos val="t"/>
              <c:showLegendKey val="0"/>
              <c:showVal val="1"/>
              <c:showCatName val="0"/>
              <c:showSerName val="0"/>
              <c:showPercent val="0"/>
              <c:showBubbleSize val="0"/>
            </c:dLbl>
            <c:dLbl>
              <c:idx val="2"/>
              <c:tx>
                <c:rich>
                  <a:bodyPr/>
                  <a:lstStyle/>
                  <a:p>
                    <a:r>
                      <a:t>479.33</a:t>
                    </a:r>
                  </a:p>
                </c:rich>
              </c:tx>
              <c:dLblPos val="t"/>
              <c:showLegendKey val="0"/>
              <c:showVal val="1"/>
              <c:showCatName val="0"/>
              <c:showSerName val="0"/>
              <c:showPercent val="0"/>
              <c:showBubbleSize val="0"/>
            </c:dLbl>
            <c:dLbl>
              <c:idx val="3"/>
              <c:tx>
                <c:rich>
                  <a:bodyPr/>
                  <a:lstStyle/>
                  <a:p>
                    <a:r>
                      <a:t>944.2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967.8933</c:v>
                </c:pt>
                <c:pt idx="1">
                  <c:v>800.8844</c:v>
                </c:pt>
                <c:pt idx="2">
                  <c:v>479.3291</c:v>
                </c:pt>
                <c:pt idx="3">
                  <c:v>944.231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7954395878657001</c:v>
                </c:pt>
                <c:pt idx="1">
                  <c:v>0.7752727107310194</c:v>
                </c:pt>
                <c:pt idx="2">
                  <c:v>1.3583128429592737</c:v>
                </c:pt>
                <c:pt idx="3">
                  <c:v>0.802177165662067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50.795042</c:v>
                </c:pt>
                <c:pt idx="1">
                  <c:v>0.852141</c:v>
                </c:pt>
                <c:pt idx="2">
                  <c:v>1.123068</c:v>
                </c:pt>
                <c:pt idx="3">
                  <c:v>52.77025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7.89</a:t>
                    </a:r>
                  </a:p>
                </c:rich>
              </c:tx>
              <c:dLblPos val="t"/>
              <c:showLegendKey val="0"/>
              <c:showVal val="1"/>
              <c:showCatName val="0"/>
              <c:showSerName val="0"/>
              <c:showPercent val="0"/>
              <c:showBubbleSize val="0"/>
            </c:dLbl>
            <c:dLbl>
              <c:idx val="1"/>
              <c:tx>
                <c:rich>
                  <a:bodyPr/>
                  <a:lstStyle/>
                  <a:p>
                    <a:r>
                      <a:t>800.88</a:t>
                    </a:r>
                  </a:p>
                </c:rich>
              </c:tx>
              <c:dLblPos val="t"/>
              <c:showLegendKey val="0"/>
              <c:showVal val="1"/>
              <c:showCatName val="0"/>
              <c:showSerName val="0"/>
              <c:showPercent val="0"/>
              <c:showBubbleSize val="0"/>
            </c:dLbl>
            <c:dLbl>
              <c:idx val="2"/>
              <c:tx>
                <c:rich>
                  <a:bodyPr/>
                  <a:lstStyle/>
                  <a:p>
                    <a:r>
                      <a:t>479.33</a:t>
                    </a:r>
                  </a:p>
                </c:rich>
              </c:tx>
              <c:dLblPos val="t"/>
              <c:showLegendKey val="0"/>
              <c:showVal val="1"/>
              <c:showCatName val="0"/>
              <c:showSerName val="0"/>
              <c:showPercent val="0"/>
              <c:showBubbleSize val="0"/>
            </c:dLbl>
            <c:dLbl>
              <c:idx val="3"/>
              <c:tx>
                <c:rich>
                  <a:bodyPr/>
                  <a:lstStyle/>
                  <a:p>
                    <a:r>
                      <a:t>944.2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967.8933</c:v>
                </c:pt>
                <c:pt idx="1">
                  <c:v>800.8844</c:v>
                </c:pt>
                <c:pt idx="2">
                  <c:v>479.3291</c:v>
                </c:pt>
                <c:pt idx="3">
                  <c:v>944.231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7954395878657001</c:v>
                </c:pt>
                <c:pt idx="1">
                  <c:v>0.7752727107310194</c:v>
                </c:pt>
                <c:pt idx="2">
                  <c:v>1.3583128429592737</c:v>
                </c:pt>
                <c:pt idx="3">
                  <c:v>0.802177165662067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50.795042</c:v>
                </c:pt>
                <c:pt idx="1">
                  <c:v>0.852141</c:v>
                </c:pt>
                <c:pt idx="2">
                  <c:v>1.123068</c:v>
                </c:pt>
                <c:pt idx="3">
                  <c:v>52.77025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7.89</a:t>
                    </a:r>
                  </a:p>
                </c:rich>
              </c:tx>
              <c:dLblPos val="t"/>
              <c:showLegendKey val="0"/>
              <c:showVal val="1"/>
              <c:showCatName val="0"/>
              <c:showSerName val="0"/>
              <c:showPercent val="0"/>
              <c:showBubbleSize val="0"/>
            </c:dLbl>
            <c:dLbl>
              <c:idx val="1"/>
              <c:tx>
                <c:rich>
                  <a:bodyPr/>
                  <a:lstStyle/>
                  <a:p>
                    <a:r>
                      <a:t>800.88</a:t>
                    </a:r>
                  </a:p>
                </c:rich>
              </c:tx>
              <c:dLblPos val="t"/>
              <c:showLegendKey val="0"/>
              <c:showVal val="1"/>
              <c:showCatName val="0"/>
              <c:showSerName val="0"/>
              <c:showPercent val="0"/>
              <c:showBubbleSize val="0"/>
            </c:dLbl>
            <c:dLbl>
              <c:idx val="2"/>
              <c:tx>
                <c:rich>
                  <a:bodyPr/>
                  <a:lstStyle/>
                  <a:p>
                    <a:r>
                      <a:t>479.33</a:t>
                    </a:r>
                  </a:p>
                </c:rich>
              </c:tx>
              <c:dLblPos val="t"/>
              <c:showLegendKey val="0"/>
              <c:showVal val="1"/>
              <c:showCatName val="0"/>
              <c:showSerName val="0"/>
              <c:showPercent val="0"/>
              <c:showBubbleSize val="0"/>
            </c:dLbl>
            <c:dLbl>
              <c:idx val="3"/>
              <c:tx>
                <c:rich>
                  <a:bodyPr/>
                  <a:lstStyle/>
                  <a:p>
                    <a:r>
                      <a:t>944.2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967.8933</c:v>
                </c:pt>
                <c:pt idx="1">
                  <c:v>800.8844</c:v>
                </c:pt>
                <c:pt idx="2">
                  <c:v>479.3291</c:v>
                </c:pt>
                <c:pt idx="3">
                  <c:v>944.231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7954395878657001</c:v>
                </c:pt>
                <c:pt idx="1">
                  <c:v>0.7752727107310194</c:v>
                </c:pt>
                <c:pt idx="2">
                  <c:v>1.3583128429592737</c:v>
                </c:pt>
                <c:pt idx="3">
                  <c:v>0.802177165662067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10.192027</c:v>
                </c:pt>
                <c:pt idx="1">
                  <c:v>0.742861</c:v>
                </c:pt>
                <c:pt idx="2">
                  <c:v>0.446315</c:v>
                </c:pt>
                <c:pt idx="3">
                  <c:v>11.3812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98.75</a:t>
                    </a:r>
                  </a:p>
                </c:rich>
              </c:tx>
              <c:dLblPos val="t"/>
              <c:showLegendKey val="0"/>
              <c:showVal val="1"/>
              <c:showCatName val="0"/>
              <c:showSerName val="0"/>
              <c:showPercent val="0"/>
              <c:showBubbleSize val="0"/>
            </c:dLbl>
            <c:dLbl>
              <c:idx val="1"/>
              <c:tx>
                <c:rich>
                  <a:bodyPr/>
                  <a:lstStyle/>
                  <a:p>
                    <a:r>
                      <a:t>1067.33</a:t>
                    </a:r>
                  </a:p>
                </c:rich>
              </c:tx>
              <c:dLblPos val="t"/>
              <c:showLegendKey val="0"/>
              <c:showVal val="1"/>
              <c:showCatName val="0"/>
              <c:showSerName val="0"/>
              <c:showPercent val="0"/>
              <c:showBubbleSize val="0"/>
            </c:dLbl>
            <c:dLbl>
              <c:idx val="2"/>
              <c:tx>
                <c:rich>
                  <a:bodyPr/>
                  <a:lstStyle/>
                  <a:p>
                    <a:r>
                      <a:t>584.95</a:t>
                    </a:r>
                  </a:p>
                </c:rich>
              </c:tx>
              <c:dLblPos val="t"/>
              <c:showLegendKey val="0"/>
              <c:showVal val="1"/>
              <c:showCatName val="0"/>
              <c:showSerName val="0"/>
              <c:showPercent val="0"/>
              <c:showBubbleSize val="0"/>
            </c:dLbl>
            <c:dLbl>
              <c:idx val="3"/>
              <c:tx>
                <c:rich>
                  <a:bodyPr/>
                  <a:lstStyle/>
                  <a:p>
                    <a:r>
                      <a:t>1060.20</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1098.7524</c:v>
                </c:pt>
                <c:pt idx="1">
                  <c:v>1067.329</c:v>
                </c:pt>
                <c:pt idx="2">
                  <c:v>584.9476</c:v>
                </c:pt>
                <c:pt idx="3">
                  <c:v>1060.19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9333417888209906</c:v>
                </c:pt>
                <c:pt idx="1">
                  <c:v>0.8083784571990702</c:v>
                </c:pt>
                <c:pt idx="2">
                  <c:v>1.2100602705260046</c:v>
                </c:pt>
                <c:pt idx="3">
                  <c:v>0.93229562377705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10.192027</c:v>
                </c:pt>
                <c:pt idx="1">
                  <c:v>0.742861</c:v>
                </c:pt>
                <c:pt idx="2">
                  <c:v>0.446315</c:v>
                </c:pt>
                <c:pt idx="3">
                  <c:v>11.3812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98.75</a:t>
                    </a:r>
                  </a:p>
                </c:rich>
              </c:tx>
              <c:dLblPos val="t"/>
              <c:showLegendKey val="0"/>
              <c:showVal val="1"/>
              <c:showCatName val="0"/>
              <c:showSerName val="0"/>
              <c:showPercent val="0"/>
              <c:showBubbleSize val="0"/>
            </c:dLbl>
            <c:dLbl>
              <c:idx val="1"/>
              <c:tx>
                <c:rich>
                  <a:bodyPr/>
                  <a:lstStyle/>
                  <a:p>
                    <a:r>
                      <a:t>1067.33</a:t>
                    </a:r>
                  </a:p>
                </c:rich>
              </c:tx>
              <c:dLblPos val="t"/>
              <c:showLegendKey val="0"/>
              <c:showVal val="1"/>
              <c:showCatName val="0"/>
              <c:showSerName val="0"/>
              <c:showPercent val="0"/>
              <c:showBubbleSize val="0"/>
            </c:dLbl>
            <c:dLbl>
              <c:idx val="2"/>
              <c:tx>
                <c:rich>
                  <a:bodyPr/>
                  <a:lstStyle/>
                  <a:p>
                    <a:r>
                      <a:t>584.95</a:t>
                    </a:r>
                  </a:p>
                </c:rich>
              </c:tx>
              <c:dLblPos val="t"/>
              <c:showLegendKey val="0"/>
              <c:showVal val="1"/>
              <c:showCatName val="0"/>
              <c:showSerName val="0"/>
              <c:showPercent val="0"/>
              <c:showBubbleSize val="0"/>
            </c:dLbl>
            <c:dLbl>
              <c:idx val="3"/>
              <c:tx>
                <c:rich>
                  <a:bodyPr/>
                  <a:lstStyle/>
                  <a:p>
                    <a:r>
                      <a:t>1060.20</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1098.7524</c:v>
                </c:pt>
                <c:pt idx="1">
                  <c:v>1067.329</c:v>
                </c:pt>
                <c:pt idx="2">
                  <c:v>584.9476</c:v>
                </c:pt>
                <c:pt idx="3">
                  <c:v>1060.19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a:solidFill>
                          <a:srgbClr val="FFFFFF"/>
                        </a:solidFill>
                      </a:rPr>
                      <a:t>1024.4</a:t>
                    </a:r>
                  </a:p>
                </c:rich>
              </c:tx>
              <c:showLegendKey val="0"/>
              <c:showVal val="1"/>
              <c:showCatName val="0"/>
              <c:showSerName val="0"/>
              <c:showPercent val="0"/>
              <c:showBubbleSize val="0"/>
            </c:dLbl>
            <c:dLbl>
              <c:idx val="1"/>
              <c:tx>
                <c:rich>
                  <a:bodyPr/>
                  <a:lstStyle/>
                  <a:p>
                    <a:r>
                      <a:rPr>
                        <a:solidFill>
                          <a:srgbClr val="FFFFFF"/>
                        </a:solidFill>
                      </a:rPr>
                      <a:t>1014.4</a:t>
                    </a:r>
                  </a:p>
                </c:rich>
              </c:tx>
              <c:showLegendKey val="0"/>
              <c:showVal val="1"/>
              <c:showCatName val="0"/>
              <c:showSerName val="0"/>
              <c:showPercent val="0"/>
              <c:showBubbleSize val="0"/>
            </c:dLbl>
            <c:dLbl>
              <c:idx val="2"/>
              <c:tx>
                <c:rich>
                  <a:bodyPr/>
                  <a:lstStyle/>
                  <a:p>
                    <a:r>
                      <a:rPr>
                        <a:solidFill>
                          <a:srgbClr val="FFFFFF"/>
                        </a:solidFill>
                      </a:rPr>
                      <a:t>35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24.433902</c:v>
                </c:pt>
                <c:pt idx="1">
                  <c:v>1014.365223</c:v>
                </c:pt>
                <c:pt idx="2">
                  <c:v>355.5163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671.0</a:t>
                    </a:r>
                  </a:p>
                </c:rich>
              </c:tx>
              <c:showLegendKey val="0"/>
              <c:showVal val="1"/>
              <c:showCatName val="0"/>
              <c:showSerName val="0"/>
              <c:showPercent val="0"/>
              <c:showBubbleSize val="0"/>
            </c:dLbl>
            <c:dLbl>
              <c:idx val="1"/>
              <c:tx>
                <c:rich>
                  <a:bodyPr/>
                  <a:lstStyle/>
                  <a:p>
                    <a:r>
                      <a:rPr>
                        <a:solidFill>
                          <a:srgbClr val="FFFFFF"/>
                        </a:solidFill>
                      </a:rPr>
                      <a:t>647.8</a:t>
                    </a:r>
                  </a:p>
                </c:rich>
              </c:tx>
              <c:showLegendKey val="0"/>
              <c:showVal val="1"/>
              <c:showCatName val="0"/>
              <c:showSerName val="0"/>
              <c:showPercent val="0"/>
              <c:showBubbleSize val="0"/>
            </c:dLbl>
            <c:dLbl>
              <c:idx val="2"/>
              <c:tx>
                <c:rich>
                  <a:bodyPr/>
                  <a:lstStyle/>
                  <a:p>
                    <a:r>
                      <a:rPr>
                        <a:solidFill>
                          <a:srgbClr val="FFFFFF"/>
                        </a:solidFill>
                      </a:rPr>
                      <a:t>23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71.030944</c:v>
                </c:pt>
                <c:pt idx="1">
                  <c:v>647.835785</c:v>
                </c:pt>
                <c:pt idx="2">
                  <c:v>235.23643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a:solidFill>
                          <a:srgbClr val="FFFFFF"/>
                        </a:solidFill>
                      </a:rPr>
                      <a:t>537.1</a:t>
                    </a:r>
                  </a:p>
                </c:rich>
              </c:tx>
              <c:showLegendKey val="0"/>
              <c:showVal val="1"/>
              <c:showCatName val="0"/>
              <c:showSerName val="0"/>
              <c:showPercent val="0"/>
              <c:showBubbleSize val="0"/>
            </c:dLbl>
            <c:dLbl>
              <c:idx val="1"/>
              <c:tx>
                <c:rich>
                  <a:bodyPr/>
                  <a:lstStyle/>
                  <a:p>
                    <a:r>
                      <a:rPr>
                        <a:solidFill>
                          <a:srgbClr val="FFFFFF"/>
                        </a:solidFill>
                      </a:rPr>
                      <a:t>564.5</a:t>
                    </a:r>
                  </a:p>
                </c:rich>
              </c:tx>
              <c:showLegendKey val="0"/>
              <c:showVal val="1"/>
              <c:showCatName val="0"/>
              <c:showSerName val="0"/>
              <c:showPercent val="0"/>
              <c:showBubbleSize val="0"/>
            </c:dLbl>
            <c:dLbl>
              <c:idx val="2"/>
              <c:tx>
                <c:rich>
                  <a:bodyPr/>
                  <a:lstStyle/>
                  <a:p>
                    <a:r>
                      <a:rPr>
                        <a:solidFill>
                          <a:srgbClr val="FFFFFF"/>
                        </a:solidFill>
                      </a:rPr>
                      <a:t>19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37.053378</c:v>
                </c:pt>
                <c:pt idx="1">
                  <c:v>564.465043</c:v>
                </c:pt>
                <c:pt idx="2">
                  <c:v>190.28730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a:solidFill>
                          <a:srgbClr val="FFFFFF"/>
                        </a:solidFill>
                      </a:rPr>
                      <a:t>348.3</a:t>
                    </a:r>
                  </a:p>
                </c:rich>
              </c:tx>
              <c:showLegendKey val="0"/>
              <c:showVal val="1"/>
              <c:showCatName val="0"/>
              <c:showSerName val="0"/>
              <c:showPercent val="0"/>
              <c:showBubbleSize val="0"/>
            </c:dLbl>
            <c:dLbl>
              <c:idx val="1"/>
              <c:tx>
                <c:rich>
                  <a:bodyPr/>
                  <a:lstStyle/>
                  <a:p>
                    <a:r>
                      <a:rPr>
                        <a:solidFill>
                          <a:srgbClr val="FFFFFF"/>
                        </a:solidFill>
                      </a:rPr>
                      <a:t>436.9</a:t>
                    </a:r>
                  </a:p>
                </c:rich>
              </c:tx>
              <c:showLegendKey val="0"/>
              <c:showVal val="1"/>
              <c:showCatName val="0"/>
              <c:showSerName val="0"/>
              <c:showPercent val="0"/>
              <c:showBubbleSize val="0"/>
            </c:dLbl>
            <c:dLbl>
              <c:idx val="2"/>
              <c:tx>
                <c:rich>
                  <a:bodyPr/>
                  <a:lstStyle/>
                  <a:p>
                    <a:r>
                      <a:rPr>
                        <a:solidFill>
                          <a:srgbClr val="FFFFFF"/>
                        </a:solidFill>
                      </a:rPr>
                      <a:t>16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48.297615</c:v>
                </c:pt>
                <c:pt idx="1">
                  <c:v>436.899926</c:v>
                </c:pt>
                <c:pt idx="2">
                  <c:v>168.11544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tx>
                <c:rich>
                  <a:bodyPr/>
                  <a:lstStyle/>
                  <a:p>
                    <a:r>
                      <a:rPr>
                        <a:solidFill>
                          <a:srgbClr val="FFFFFF"/>
                        </a:solidFill>
                      </a:rPr>
                      <a:t>204.5</a:t>
                    </a:r>
                  </a:p>
                </c:rich>
              </c:tx>
              <c:showLegendKey val="0"/>
              <c:showVal val="1"/>
              <c:showCatName val="0"/>
              <c:showSerName val="0"/>
              <c:showPercent val="0"/>
              <c:showBubbleSize val="0"/>
            </c:dLbl>
            <c:dLbl>
              <c:idx val="1"/>
              <c:tx>
                <c:rich>
                  <a:bodyPr/>
                  <a:lstStyle/>
                  <a:p>
                    <a:r>
                      <a:rPr>
                        <a:solidFill>
                          <a:srgbClr val="FFFFFF"/>
                        </a:solidFill>
                      </a:rPr>
                      <a:t>198.9</a:t>
                    </a:r>
                  </a:p>
                </c:rich>
              </c:tx>
              <c:showLegendKey val="0"/>
              <c:showVal val="1"/>
              <c:showCatName val="0"/>
              <c:showSerName val="0"/>
              <c:showPercent val="0"/>
              <c:showBubbleSize val="0"/>
            </c:dLbl>
            <c:dLbl>
              <c:idx val="2"/>
              <c:tx>
                <c:rich>
                  <a:bodyPr/>
                  <a:lstStyle/>
                  <a:p>
                    <a:r>
                      <a:rPr>
                        <a:solidFill>
                          <a:srgbClr val="FFFFFF"/>
                        </a:solidFill>
                      </a:rPr>
                      <a:t>6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04.534905</c:v>
                </c:pt>
                <c:pt idx="1">
                  <c:v>198.937614</c:v>
                </c:pt>
                <c:pt idx="2">
                  <c:v>66.84738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tx>
                <c:rich>
                  <a:bodyPr/>
                  <a:lstStyle/>
                  <a:p>
                    <a:r>
                      <a:rPr>
                        <a:solidFill>
                          <a:srgbClr val="FFFFFF"/>
                        </a:solidFill>
                      </a:rPr>
                      <a:t>87.9</a:t>
                    </a:r>
                  </a:p>
                </c:rich>
              </c:tx>
              <c:showLegendKey val="0"/>
              <c:showVal val="1"/>
              <c:showCatName val="0"/>
              <c:showSerName val="0"/>
              <c:showPercent val="0"/>
              <c:showBubbleSize val="0"/>
            </c:dLbl>
            <c:dLbl>
              <c:idx val="1"/>
              <c:tx>
                <c:rich>
                  <a:bodyPr/>
                  <a:lstStyle/>
                  <a:p>
                    <a:r>
                      <a:rPr>
                        <a:solidFill>
                          <a:srgbClr val="FFFFFF"/>
                        </a:solidFill>
                      </a:rPr>
                      <a:t>157.8</a:t>
                    </a:r>
                  </a:p>
                </c:rich>
              </c:tx>
              <c:showLegendKey val="0"/>
              <c:showVal val="1"/>
              <c:showCatName val="0"/>
              <c:showSerName val="0"/>
              <c:showPercent val="0"/>
              <c:showBubbleSize val="0"/>
            </c:dLbl>
            <c:dLbl>
              <c:idx val="2"/>
              <c:tx>
                <c:rich>
                  <a:bodyPr/>
                  <a:lstStyle/>
                  <a:p>
                    <a:r>
                      <a:rPr>
                        <a:solidFill>
                          <a:srgbClr val="FFFFFF"/>
                        </a:solidFill>
                      </a:rPr>
                      <a:t>5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7.934756</c:v>
                </c:pt>
                <c:pt idx="1">
                  <c:v>157.810492</c:v>
                </c:pt>
                <c:pt idx="2">
                  <c:v>55.92047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tx>
                <c:rich>
                  <a:bodyPr/>
                  <a:lstStyle/>
                  <a:p>
                    <a:r>
                      <a:rPr>
                        <a:solidFill>
                          <a:srgbClr val="FFFFFF"/>
                        </a:solidFill>
                      </a:rPr>
                      <a:t>111.6</a:t>
                    </a:r>
                  </a:p>
                </c:rich>
              </c:tx>
              <c:showLegendKey val="0"/>
              <c:showVal val="1"/>
              <c:showCatName val="0"/>
              <c:showSerName val="0"/>
              <c:showPercent val="0"/>
              <c:showBubbleSize val="0"/>
            </c:dLbl>
            <c:dLbl>
              <c:idx val="1"/>
              <c:tx>
                <c:rich>
                  <a:bodyPr/>
                  <a:lstStyle/>
                  <a:p>
                    <a:r>
                      <a:rPr>
                        <a:solidFill>
                          <a:srgbClr val="FFFFFF"/>
                        </a:solidFill>
                      </a:rPr>
                      <a:t>114.4</a:t>
                    </a:r>
                  </a:p>
                </c:rich>
              </c:tx>
              <c:showLegendKey val="0"/>
              <c:showVal val="1"/>
              <c:showCatName val="0"/>
              <c:showSerName val="0"/>
              <c:showPercent val="0"/>
              <c:showBubbleSize val="0"/>
            </c:dLbl>
            <c:dLbl>
              <c:idx val="2"/>
              <c:tx>
                <c:rich>
                  <a:bodyPr/>
                  <a:lstStyle/>
                  <a:p>
                    <a:r>
                      <a:rPr>
                        <a:solidFill>
                          <a:srgbClr val="FFFFFF"/>
                        </a:solidFill>
                      </a:rPr>
                      <a:t>4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11.623727</c:v>
                </c:pt>
                <c:pt idx="1">
                  <c:v>114.403917</c:v>
                </c:pt>
                <c:pt idx="2">
                  <c:v>40.78027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tx>
                <c:rich>
                  <a:bodyPr/>
                  <a:lstStyle/>
                  <a:p>
                    <a:r>
                      <a:rPr>
                        <a:solidFill>
                          <a:srgbClr val="FFFFFF"/>
                        </a:solidFill>
                      </a:rPr>
                      <a:t>86.4</a:t>
                    </a:r>
                  </a:p>
                </c:rich>
              </c:tx>
              <c:showLegendKey val="0"/>
              <c:showVal val="1"/>
              <c:showCatName val="0"/>
              <c:showSerName val="0"/>
              <c:showPercent val="0"/>
              <c:showBubbleSize val="0"/>
            </c:dLbl>
            <c:dLbl>
              <c:idx val="1"/>
              <c:tx>
                <c:rich>
                  <a:bodyPr/>
                  <a:lstStyle/>
                  <a:p>
                    <a:r>
                      <a:rPr>
                        <a:solidFill>
                          <a:srgbClr val="FFFFFF"/>
                        </a:solidFill>
                      </a:rPr>
                      <a:t>105.9</a:t>
                    </a:r>
                  </a:p>
                </c:rich>
              </c:tx>
              <c:showLegendKey val="0"/>
              <c:showVal val="1"/>
              <c:showCatName val="0"/>
              <c:showSerName val="0"/>
              <c:showPercent val="0"/>
              <c:showBubbleSize val="0"/>
            </c:dLbl>
            <c:dLbl>
              <c:idx val="2"/>
              <c:tx>
                <c:rich>
                  <a:bodyPr/>
                  <a:lstStyle/>
                  <a:p>
                    <a:r>
                      <a:rPr>
                        <a:solidFill>
                          <a:srgbClr val="FFFFFF"/>
                        </a:solidFill>
                      </a:rPr>
                      <a:t>3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86.394823</c:v>
                </c:pt>
                <c:pt idx="1">
                  <c:v>105.933819</c:v>
                </c:pt>
                <c:pt idx="2">
                  <c:v>37.57664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a:solidFill>
                          <a:srgbClr val="FFFFFF"/>
                        </a:solidFill>
                      </a:rPr>
                      <a:t>107.8</a:t>
                    </a:r>
                  </a:p>
                </c:rich>
              </c:tx>
              <c:showLegendKey val="0"/>
              <c:showVal val="1"/>
              <c:showCatName val="0"/>
              <c:showSerName val="0"/>
              <c:showPercent val="0"/>
              <c:showBubbleSize val="0"/>
            </c:dLbl>
            <c:dLbl>
              <c:idx val="1"/>
              <c:tx>
                <c:rich>
                  <a:bodyPr/>
                  <a:lstStyle/>
                  <a:p>
                    <a:r>
                      <a:rPr>
                        <a:solidFill>
                          <a:srgbClr val="FFFFFF"/>
                        </a:solidFill>
                      </a:rPr>
                      <a:t>82.1</a:t>
                    </a:r>
                  </a:p>
                </c:rich>
              </c:tx>
              <c:showLegendKey val="0"/>
              <c:showVal val="1"/>
              <c:showCatName val="0"/>
              <c:showSerName val="0"/>
              <c:showPercent val="0"/>
              <c:showBubbleSize val="0"/>
            </c:dLbl>
            <c:dLbl>
              <c:idx val="2"/>
              <c:tx>
                <c:rich>
                  <a:bodyPr/>
                  <a:lstStyle/>
                  <a:p>
                    <a:r>
                      <a:rPr>
                        <a:solidFill>
                          <a:srgbClr val="FFFFFF"/>
                        </a:solidFill>
                      </a:rPr>
                      <a:t>2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7.789449</c:v>
                </c:pt>
                <c:pt idx="1">
                  <c:v>82.134777</c:v>
                </c:pt>
                <c:pt idx="2">
                  <c:v>26.85352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41.9</a:t>
                    </a:r>
                  </a:p>
                </c:rich>
              </c:tx>
              <c:showLegendKey val="0"/>
              <c:showVal val="1"/>
              <c:showCatName val="0"/>
              <c:showSerName val="0"/>
              <c:showPercent val="0"/>
              <c:showBubbleSize val="0"/>
            </c:dLbl>
            <c:dLbl>
              <c:idx val="1"/>
              <c:tx>
                <c:rich>
                  <a:bodyPr/>
                  <a:lstStyle/>
                  <a:p>
                    <a:r>
                      <a:rPr>
                        <a:solidFill>
                          <a:srgbClr val="FFFFFF"/>
                        </a:solidFill>
                      </a:rPr>
                      <a:t>305.4</a:t>
                    </a:r>
                  </a:p>
                </c:rich>
              </c:tx>
              <c:showLegendKey val="0"/>
              <c:showVal val="1"/>
              <c:showCatName val="0"/>
              <c:showSerName val="0"/>
              <c:showPercent val="0"/>
              <c:showBubbleSize val="0"/>
            </c:dLbl>
            <c:dLbl>
              <c:idx val="2"/>
              <c:tx>
                <c:rich>
                  <a:bodyPr/>
                  <a:lstStyle/>
                  <a:p>
                    <a:r>
                      <a:rPr>
                        <a:solidFill>
                          <a:srgbClr val="FFFFFF"/>
                        </a:solidFill>
                      </a:rPr>
                      <a:t>11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41.933392</c:v>
                </c:pt>
                <c:pt idx="1">
                  <c:v>305.444928</c:v>
                </c:pt>
                <c:pt idx="2">
                  <c:v>114.4557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9333417888209906</c:v>
                </c:pt>
                <c:pt idx="1">
                  <c:v>0.8083784571990702</c:v>
                </c:pt>
                <c:pt idx="2">
                  <c:v>1.2100602705260046</c:v>
                </c:pt>
                <c:pt idx="3">
                  <c:v>0.93229562377705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10.192027</c:v>
                </c:pt>
                <c:pt idx="1">
                  <c:v>0.742861</c:v>
                </c:pt>
                <c:pt idx="2">
                  <c:v>0.446315</c:v>
                </c:pt>
                <c:pt idx="3">
                  <c:v>11.3812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98.75</a:t>
                    </a:r>
                  </a:p>
                </c:rich>
              </c:tx>
              <c:dLblPos val="t"/>
              <c:showLegendKey val="0"/>
              <c:showVal val="1"/>
              <c:showCatName val="0"/>
              <c:showSerName val="0"/>
              <c:showPercent val="0"/>
              <c:showBubbleSize val="0"/>
            </c:dLbl>
            <c:dLbl>
              <c:idx val="1"/>
              <c:tx>
                <c:rich>
                  <a:bodyPr/>
                  <a:lstStyle/>
                  <a:p>
                    <a:r>
                      <a:t>1067.33</a:t>
                    </a:r>
                  </a:p>
                </c:rich>
              </c:tx>
              <c:dLblPos val="t"/>
              <c:showLegendKey val="0"/>
              <c:showVal val="1"/>
              <c:showCatName val="0"/>
              <c:showSerName val="0"/>
              <c:showPercent val="0"/>
              <c:showBubbleSize val="0"/>
            </c:dLbl>
            <c:dLbl>
              <c:idx val="2"/>
              <c:tx>
                <c:rich>
                  <a:bodyPr/>
                  <a:lstStyle/>
                  <a:p>
                    <a:r>
                      <a:t>584.95</a:t>
                    </a:r>
                  </a:p>
                </c:rich>
              </c:tx>
              <c:dLblPos val="t"/>
              <c:showLegendKey val="0"/>
              <c:showVal val="1"/>
              <c:showCatName val="0"/>
              <c:showSerName val="0"/>
              <c:showPercent val="0"/>
              <c:showBubbleSize val="0"/>
            </c:dLbl>
            <c:dLbl>
              <c:idx val="3"/>
              <c:tx>
                <c:rich>
                  <a:bodyPr/>
                  <a:lstStyle/>
                  <a:p>
                    <a:r>
                      <a:t>1060.20</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1098.7524</c:v>
                </c:pt>
                <c:pt idx="1">
                  <c:v>1067.329</c:v>
                </c:pt>
                <c:pt idx="2">
                  <c:v>584.9476</c:v>
                </c:pt>
                <c:pt idx="3">
                  <c:v>1060.19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9333417888209906</c:v>
                </c:pt>
                <c:pt idx="1">
                  <c:v>0.8083784571990702</c:v>
                </c:pt>
                <c:pt idx="2">
                  <c:v>1.2100602705260046</c:v>
                </c:pt>
                <c:pt idx="3">
                  <c:v>0.93229562377705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10.192027</c:v>
                </c:pt>
                <c:pt idx="1">
                  <c:v>0.742861</c:v>
                </c:pt>
                <c:pt idx="2">
                  <c:v>0.446315</c:v>
                </c:pt>
                <c:pt idx="3">
                  <c:v>11.3812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98.75</a:t>
                    </a:r>
                  </a:p>
                </c:rich>
              </c:tx>
              <c:dLblPos val="t"/>
              <c:showLegendKey val="0"/>
              <c:showVal val="1"/>
              <c:showCatName val="0"/>
              <c:showSerName val="0"/>
              <c:showPercent val="0"/>
              <c:showBubbleSize val="0"/>
            </c:dLbl>
            <c:dLbl>
              <c:idx val="1"/>
              <c:tx>
                <c:rich>
                  <a:bodyPr/>
                  <a:lstStyle/>
                  <a:p>
                    <a:r>
                      <a:t>1067.33</a:t>
                    </a:r>
                  </a:p>
                </c:rich>
              </c:tx>
              <c:dLblPos val="t"/>
              <c:showLegendKey val="0"/>
              <c:showVal val="1"/>
              <c:showCatName val="0"/>
              <c:showSerName val="0"/>
              <c:showPercent val="0"/>
              <c:showBubbleSize val="0"/>
            </c:dLbl>
            <c:dLbl>
              <c:idx val="2"/>
              <c:tx>
                <c:rich>
                  <a:bodyPr/>
                  <a:lstStyle/>
                  <a:p>
                    <a:r>
                      <a:t>584.95</a:t>
                    </a:r>
                  </a:p>
                </c:rich>
              </c:tx>
              <c:dLblPos val="t"/>
              <c:showLegendKey val="0"/>
              <c:showVal val="1"/>
              <c:showCatName val="0"/>
              <c:showSerName val="0"/>
              <c:showPercent val="0"/>
              <c:showBubbleSize val="0"/>
            </c:dLbl>
            <c:dLbl>
              <c:idx val="3"/>
              <c:tx>
                <c:rich>
                  <a:bodyPr/>
                  <a:lstStyle/>
                  <a:p>
                    <a:r>
                      <a:t>1060.20</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1098.7524</c:v>
                </c:pt>
                <c:pt idx="1">
                  <c:v>1067.329</c:v>
                </c:pt>
                <c:pt idx="2">
                  <c:v>584.9476</c:v>
                </c:pt>
                <c:pt idx="3">
                  <c:v>1060.19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9333417888209906</c:v>
                </c:pt>
                <c:pt idx="1">
                  <c:v>0.8083784571990702</c:v>
                </c:pt>
                <c:pt idx="2">
                  <c:v>1.2100602705260046</c:v>
                </c:pt>
                <c:pt idx="3">
                  <c:v>0.93229562377705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10.587181</c:v>
                </c:pt>
                <c:pt idx="1">
                  <c:v>0.007924</c:v>
                </c:pt>
                <c:pt idx="2">
                  <c:v>0.001926</c:v>
                </c:pt>
                <c:pt idx="3">
                  <c:v>10.597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3.71</a:t>
                    </a:r>
                  </a:p>
                </c:rich>
              </c:tx>
              <c:dLblPos val="t"/>
              <c:showLegendKey val="0"/>
              <c:showVal val="1"/>
              <c:showCatName val="0"/>
              <c:showSerName val="0"/>
              <c:showPercent val="0"/>
              <c:showBubbleSize val="0"/>
            </c:dLbl>
            <c:dLbl>
              <c:idx val="1"/>
              <c:tx>
                <c:rich>
                  <a:bodyPr/>
                  <a:lstStyle/>
                  <a:p>
                    <a:r>
                      <a:t>7924.00</a:t>
                    </a:r>
                  </a:p>
                </c:rich>
              </c:tx>
              <c:dLblPos val="t"/>
              <c:showLegendKey val="0"/>
              <c:showVal val="1"/>
              <c:showCatName val="0"/>
              <c:showSerName val="0"/>
              <c:showPercent val="0"/>
              <c:showBubbleSize val="0"/>
            </c:dLbl>
            <c:dLbl>
              <c:idx val="2"/>
              <c:tx>
                <c:rich>
                  <a:bodyPr/>
                  <a:lstStyle/>
                  <a:p>
                    <a:r>
                      <a:t>0.00</a:t>
                    </a:r>
                  </a:p>
                </c:rich>
              </c:tx>
              <c:dLblPos val="t"/>
              <c:showLegendKey val="0"/>
              <c:showVal val="1"/>
              <c:showCatName val="0"/>
              <c:showSerName val="0"/>
              <c:showPercent val="0"/>
              <c:showBubbleSize val="0"/>
            </c:dLbl>
            <c:dLbl>
              <c:idx val="3"/>
              <c:tx>
                <c:rich>
                  <a:bodyPr/>
                  <a:lstStyle/>
                  <a:p>
                    <a:r>
                      <a:t>954.52</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953.7142</c:v>
                </c:pt>
                <c:pt idx="1">
                  <c:v>7924.0</c:v>
                </c:pt>
                <c:pt idx="2">
                  <c:v>0.0</c:v>
                </c:pt>
                <c:pt idx="3">
                  <c:v>954.51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9288648390091646</c:v>
                </c:pt>
                <c:pt idx="1">
                  <c:v>0.397871058445471</c:v>
                </c:pt>
                <c:pt idx="2">
                  <c:v>1.5658536585365854</c:v>
                </c:pt>
                <c:pt idx="3">
                  <c:v>0.9280073497756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10.587181</c:v>
                </c:pt>
                <c:pt idx="1">
                  <c:v>0.007924</c:v>
                </c:pt>
                <c:pt idx="2">
                  <c:v>0.001926</c:v>
                </c:pt>
                <c:pt idx="3">
                  <c:v>10.597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3.71</a:t>
                    </a:r>
                  </a:p>
                </c:rich>
              </c:tx>
              <c:dLblPos val="t"/>
              <c:showLegendKey val="0"/>
              <c:showVal val="1"/>
              <c:showCatName val="0"/>
              <c:showSerName val="0"/>
              <c:showPercent val="0"/>
              <c:showBubbleSize val="0"/>
            </c:dLbl>
            <c:dLbl>
              <c:idx val="1"/>
              <c:tx>
                <c:rich>
                  <a:bodyPr/>
                  <a:lstStyle/>
                  <a:p>
                    <a:r>
                      <a:t>7924.00</a:t>
                    </a:r>
                  </a:p>
                </c:rich>
              </c:tx>
              <c:dLblPos val="t"/>
              <c:showLegendKey val="0"/>
              <c:showVal val="1"/>
              <c:showCatName val="0"/>
              <c:showSerName val="0"/>
              <c:showPercent val="0"/>
              <c:showBubbleSize val="0"/>
            </c:dLbl>
            <c:dLbl>
              <c:idx val="2"/>
              <c:tx>
                <c:rich>
                  <a:bodyPr/>
                  <a:lstStyle/>
                  <a:p>
                    <a:r>
                      <a:t>0.00</a:t>
                    </a:r>
                  </a:p>
                </c:rich>
              </c:tx>
              <c:dLblPos val="t"/>
              <c:showLegendKey val="0"/>
              <c:showVal val="1"/>
              <c:showCatName val="0"/>
              <c:showSerName val="0"/>
              <c:showPercent val="0"/>
              <c:showBubbleSize val="0"/>
            </c:dLbl>
            <c:dLbl>
              <c:idx val="3"/>
              <c:tx>
                <c:rich>
                  <a:bodyPr/>
                  <a:lstStyle/>
                  <a:p>
                    <a:r>
                      <a:t>954.52</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953.7142</c:v>
                </c:pt>
                <c:pt idx="1">
                  <c:v>7924.0</c:v>
                </c:pt>
                <c:pt idx="2">
                  <c:v>0.0</c:v>
                </c:pt>
                <c:pt idx="3">
                  <c:v>954.51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9288648390091646</c:v>
                </c:pt>
                <c:pt idx="1">
                  <c:v>0.397871058445471</c:v>
                </c:pt>
                <c:pt idx="2">
                  <c:v>1.5658536585365854</c:v>
                </c:pt>
                <c:pt idx="3">
                  <c:v>0.9280073497756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10.587181</c:v>
                </c:pt>
                <c:pt idx="1">
                  <c:v>0.007924</c:v>
                </c:pt>
                <c:pt idx="2">
                  <c:v>0.001926</c:v>
                </c:pt>
                <c:pt idx="3">
                  <c:v>10.597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3.71</a:t>
                    </a:r>
                  </a:p>
                </c:rich>
              </c:tx>
              <c:dLblPos val="t"/>
              <c:showLegendKey val="0"/>
              <c:showVal val="1"/>
              <c:showCatName val="0"/>
              <c:showSerName val="0"/>
              <c:showPercent val="0"/>
              <c:showBubbleSize val="0"/>
            </c:dLbl>
            <c:dLbl>
              <c:idx val="1"/>
              <c:tx>
                <c:rich>
                  <a:bodyPr/>
                  <a:lstStyle/>
                  <a:p>
                    <a:r>
                      <a:t>7924.00</a:t>
                    </a:r>
                  </a:p>
                </c:rich>
              </c:tx>
              <c:dLblPos val="t"/>
              <c:showLegendKey val="0"/>
              <c:showVal val="1"/>
              <c:showCatName val="0"/>
              <c:showSerName val="0"/>
              <c:showPercent val="0"/>
              <c:showBubbleSize val="0"/>
            </c:dLbl>
            <c:dLbl>
              <c:idx val="2"/>
              <c:tx>
                <c:rich>
                  <a:bodyPr/>
                  <a:lstStyle/>
                  <a:p>
                    <a:r>
                      <a:t>0.00</a:t>
                    </a:r>
                  </a:p>
                </c:rich>
              </c:tx>
              <c:dLblPos val="t"/>
              <c:showLegendKey val="0"/>
              <c:showVal val="1"/>
              <c:showCatName val="0"/>
              <c:showSerName val="0"/>
              <c:showPercent val="0"/>
              <c:showBubbleSize val="0"/>
            </c:dLbl>
            <c:dLbl>
              <c:idx val="3"/>
              <c:tx>
                <c:rich>
                  <a:bodyPr/>
                  <a:lstStyle/>
                  <a:p>
                    <a:r>
                      <a:t>954.52</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953.7142</c:v>
                </c:pt>
                <c:pt idx="1">
                  <c:v>7924.0</c:v>
                </c:pt>
                <c:pt idx="2">
                  <c:v>0.0</c:v>
                </c:pt>
                <c:pt idx="3">
                  <c:v>954.51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989</c:v>
                </c:pt>
                <c:pt idx="1">
                  <c:v>0.005764</c:v>
                </c:pt>
                <c:pt idx="2">
                  <c:v>0.0012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447</c:v>
                </c:pt>
                <c:pt idx="1">
                  <c:v>0.002722</c:v>
                </c:pt>
                <c:pt idx="2">
                  <c:v>0.00055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nds.Lavin De Mexico</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848</c:v>
                </c:pt>
                <c:pt idx="1">
                  <c:v>0.001607</c:v>
                </c:pt>
                <c:pt idx="2">
                  <c:v>0.0002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Total Care De Mexic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561</c:v>
                </c:pt>
                <c:pt idx="1">
                  <c:v>0.002702</c:v>
                </c:pt>
                <c:pt idx="2">
                  <c:v>0.00053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374</c:v>
                </c:pt>
                <c:pt idx="1">
                  <c:v>0.000428</c:v>
                </c:pt>
                <c:pt idx="2">
                  <c:v>0.0001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ierre Fab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243</c:v>
                </c:pt>
                <c:pt idx="1">
                  <c:v>2e-05</c:v>
                </c:pt>
                <c:pt idx="2">
                  <c:v>0.0</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612</c:v>
                </c:pt>
                <c:pt idx="1">
                  <c:v>0.007439</c:v>
                </c:pt>
                <c:pt idx="2">
                  <c:v>0.002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9288648390091646</c:v>
                </c:pt>
                <c:pt idx="1">
                  <c:v>0.397871058445471</c:v>
                </c:pt>
                <c:pt idx="2">
                  <c:v>1.5658536585365854</c:v>
                </c:pt>
                <c:pt idx="3">
                  <c:v>0.9280073497756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10.587181</c:v>
                </c:pt>
                <c:pt idx="1">
                  <c:v>0.007924</c:v>
                </c:pt>
                <c:pt idx="2">
                  <c:v>0.001926</c:v>
                </c:pt>
                <c:pt idx="3">
                  <c:v>10.597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3.71</a:t>
                    </a:r>
                  </a:p>
                </c:rich>
              </c:tx>
              <c:dLblPos val="t"/>
              <c:showLegendKey val="0"/>
              <c:showVal val="1"/>
              <c:showCatName val="0"/>
              <c:showSerName val="0"/>
              <c:showPercent val="0"/>
              <c:showBubbleSize val="0"/>
            </c:dLbl>
            <c:dLbl>
              <c:idx val="1"/>
              <c:tx>
                <c:rich>
                  <a:bodyPr/>
                  <a:lstStyle/>
                  <a:p>
                    <a:r>
                      <a:t>7924.00</a:t>
                    </a:r>
                  </a:p>
                </c:rich>
              </c:tx>
              <c:dLblPos val="t"/>
              <c:showLegendKey val="0"/>
              <c:showVal val="1"/>
              <c:showCatName val="0"/>
              <c:showSerName val="0"/>
              <c:showPercent val="0"/>
              <c:showBubbleSize val="0"/>
            </c:dLbl>
            <c:dLbl>
              <c:idx val="2"/>
              <c:tx>
                <c:rich>
                  <a:bodyPr/>
                  <a:lstStyle/>
                  <a:p>
                    <a:r>
                      <a:t>0.00</a:t>
                    </a:r>
                  </a:p>
                </c:rich>
              </c:tx>
              <c:dLblPos val="t"/>
              <c:showLegendKey val="0"/>
              <c:showVal val="1"/>
              <c:showCatName val="0"/>
              <c:showSerName val="0"/>
              <c:showPercent val="0"/>
              <c:showBubbleSize val="0"/>
            </c:dLbl>
            <c:dLbl>
              <c:idx val="3"/>
              <c:tx>
                <c:rich>
                  <a:bodyPr/>
                  <a:lstStyle/>
                  <a:p>
                    <a:r>
                      <a:t>954.52</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C$2:$C$5</c:f>
              <c:numCache>
                <c:formatCode>General</c:formatCode>
                <c:ptCount val="4"/>
                <c:pt idx="0">
                  <c:v>953.7142</c:v>
                </c:pt>
                <c:pt idx="1">
                  <c:v>7924.0</c:v>
                </c:pt>
                <c:pt idx="2">
                  <c:v>0.0</c:v>
                </c:pt>
                <c:pt idx="3">
                  <c:v>954.51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nscreen</c:v>
                </c:pt>
                <c:pt idx="1">
                  <c:v>Tanning</c:v>
                </c:pt>
                <c:pt idx="2">
                  <c:v>After Sun</c:v>
                </c:pt>
                <c:pt idx="3">
                  <c:v>Grand Total</c:v>
                </c:pt>
              </c:strCache>
            </c:strRef>
          </c:cat>
          <c:val>
            <c:numRef>
              <c:f>Sheet1!$B$2:$B$5</c:f>
              <c:numCache>
                <c:formatCode>General</c:formatCode>
                <c:ptCount val="4"/>
                <c:pt idx="0">
                  <c:v>0.9288648390091646</c:v>
                </c:pt>
                <c:pt idx="1">
                  <c:v>0.397871058445471</c:v>
                </c:pt>
                <c:pt idx="2">
                  <c:v>1.5658536585365854</c:v>
                </c:pt>
                <c:pt idx="3">
                  <c:v>0.9280073497756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4089.390327</c:v>
                </c:pt>
                <c:pt idx="1">
                  <c:v>239.7557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040.02</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C$2:$C$3</c:f>
              <c:numCache>
                <c:formatCode>General</c:formatCode>
                <c:ptCount val="2"/>
                <c:pt idx="0">
                  <c:v>2338.1733</c:v>
                </c:pt>
                <c:pt idx="1">
                  <c:v>1040.01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0.9983875302562473</c:v>
                </c:pt>
                <c:pt idx="1">
                  <c:v>0.9405853098100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4089.390327</c:v>
                </c:pt>
                <c:pt idx="1">
                  <c:v>239.7557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040.02</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C$2:$C$3</c:f>
              <c:numCache>
                <c:formatCode>General</c:formatCode>
                <c:ptCount val="2"/>
                <c:pt idx="0">
                  <c:v>2338.1733</c:v>
                </c:pt>
                <c:pt idx="1">
                  <c:v>1040.01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0.9983875302562473</c:v>
                </c:pt>
                <c:pt idx="1">
                  <c:v>0.9405853098100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4089.390327</c:v>
                </c:pt>
                <c:pt idx="1">
                  <c:v>239.7557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040.02</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C$2:$C$3</c:f>
              <c:numCache>
                <c:formatCode>General</c:formatCode>
                <c:ptCount val="2"/>
                <c:pt idx="0">
                  <c:v>2338.1733</c:v>
                </c:pt>
                <c:pt idx="1">
                  <c:v>1040.01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0.9983875302562473</c:v>
                </c:pt>
                <c:pt idx="1">
                  <c:v>0.9405853098100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4089.390327</c:v>
                </c:pt>
                <c:pt idx="1">
                  <c:v>239.7557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040.02</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C$2:$C$3</c:f>
              <c:numCache>
                <c:formatCode>General</c:formatCode>
                <c:ptCount val="2"/>
                <c:pt idx="0">
                  <c:v>2338.1733</c:v>
                </c:pt>
                <c:pt idx="1">
                  <c:v>1040.01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a:solidFill>
                          <a:srgbClr val="FFFFFF"/>
                        </a:solidFill>
                      </a:rPr>
                      <a:t>13.2</a:t>
                    </a:r>
                  </a:p>
                </c:rich>
              </c:tx>
              <c:showLegendKey val="0"/>
              <c:showVal val="1"/>
              <c:showCatName val="0"/>
              <c:showSerName val="0"/>
              <c:showPercent val="0"/>
              <c:showBubbleSize val="0"/>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187577</c:v>
                </c:pt>
                <c:pt idx="1">
                  <c:v>9.440681</c:v>
                </c:pt>
                <c:pt idx="2">
                  <c:v>2.1932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7.9</a:t>
                    </a:r>
                  </a:p>
                </c:rich>
              </c:tx>
              <c:showLegendKey val="0"/>
              <c:showVal val="1"/>
              <c:showCatName val="0"/>
              <c:showSerName val="0"/>
              <c:showPercent val="0"/>
              <c:showBubbleSize val="0"/>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900602</c:v>
                </c:pt>
                <c:pt idx="1">
                  <c:v>3.048853</c:v>
                </c:pt>
                <c:pt idx="2">
                  <c:v>0.68024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nds.Lavin De Mexico</c:v>
                </c:pt>
              </c:strCache>
            </c:strRef>
          </c:tx>
          <c:spPr>
            <a:solidFill>
              <a:srgbClr val="9B9898"/>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348921</c:v>
                </c:pt>
                <c:pt idx="1">
                  <c:v>1.343348</c:v>
                </c:pt>
                <c:pt idx="2">
                  <c:v>0.1634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Total Care De Mexico</c:v>
                </c:pt>
              </c:strCache>
            </c:strRef>
          </c:tx>
          <c:spPr>
            <a:solidFill>
              <a:srgbClr val="7F7F7F"/>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59182</c:v>
                </c:pt>
                <c:pt idx="1">
                  <c:v>1.550519</c:v>
                </c:pt>
                <c:pt idx="2">
                  <c:v>0.34322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92058</c:v>
                </c:pt>
                <c:pt idx="1">
                  <c:v>1.828028</c:v>
                </c:pt>
                <c:pt idx="2">
                  <c:v>1.09209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ierre Fabre</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180859</c:v>
                </c:pt>
                <c:pt idx="1">
                  <c:v>0.176853</c:v>
                </c:pt>
                <c:pt idx="2">
                  <c:v>0.0</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8.7</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6.356768</c:v>
                </c:pt>
                <c:pt idx="1">
                  <c:v>8.735256</c:v>
                </c:pt>
                <c:pt idx="2">
                  <c:v>2.9017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0.9983875302562473</c:v>
                </c:pt>
                <c:pt idx="1">
                  <c:v>0.9405853098100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3929.252437</c:v>
                </c:pt>
                <c:pt idx="1">
                  <c:v>224.4616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083.84</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C$2:$C$3</c:f>
              <c:numCache>
                <c:formatCode>General</c:formatCode>
                <c:ptCount val="2"/>
                <c:pt idx="0">
                  <c:v>2437.7268</c:v>
                </c:pt>
                <c:pt idx="1">
                  <c:v>1083.837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0.9973237707304932</c:v>
                </c:pt>
                <c:pt idx="1">
                  <c:v>0.942579982009056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3929.252437</c:v>
                </c:pt>
                <c:pt idx="1">
                  <c:v>224.4616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083.84</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C$2:$C$3</c:f>
              <c:numCache>
                <c:formatCode>General</c:formatCode>
                <c:ptCount val="2"/>
                <c:pt idx="0">
                  <c:v>2437.7268</c:v>
                </c:pt>
                <c:pt idx="1">
                  <c:v>1083.837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0.9973237707304932</c:v>
                </c:pt>
                <c:pt idx="1">
                  <c:v>0.942579982009056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3929.252437</c:v>
                </c:pt>
                <c:pt idx="1">
                  <c:v>224.4616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083.84</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C$2:$C$3</c:f>
              <c:numCache>
                <c:formatCode>General</c:formatCode>
                <c:ptCount val="2"/>
                <c:pt idx="0">
                  <c:v>2437.7268</c:v>
                </c:pt>
                <c:pt idx="1">
                  <c:v>1083.837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0.9973237707304932</c:v>
                </c:pt>
                <c:pt idx="1">
                  <c:v>0.942579982009056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3929.252437</c:v>
                </c:pt>
                <c:pt idx="1">
                  <c:v>224.4616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083.84</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C$2:$C$3</c:f>
              <c:numCache>
                <c:formatCode>General</c:formatCode>
                <c:ptCount val="2"/>
                <c:pt idx="0">
                  <c:v>2437.7268</c:v>
                </c:pt>
                <c:pt idx="1">
                  <c:v>1083.837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Walmart</c:v>
                </c:pt>
              </c:strCache>
            </c:strRef>
          </c:cat>
          <c:val>
            <c:numRef>
              <c:f>Sheet1!$B$2:$B$3</c:f>
              <c:numCache>
                <c:formatCode>General</c:formatCode>
                <c:ptCount val="2"/>
                <c:pt idx="0">
                  <c:v>0.9973237707304932</c:v>
                </c:pt>
                <c:pt idx="1">
                  <c:v>0.942579982009056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B$2:$B$6</c:f>
              <c:numCache>
                <c:formatCode>General</c:formatCode>
                <c:ptCount val="5"/>
                <c:pt idx="0">
                  <c:v>4089.390327</c:v>
                </c:pt>
                <c:pt idx="1">
                  <c:v>165.007272</c:v>
                </c:pt>
                <c:pt idx="2">
                  <c:v>52.770251</c:v>
                </c:pt>
                <c:pt idx="3">
                  <c:v>11.381203</c:v>
                </c:pt>
                <c:pt idx="4">
                  <c:v>10.597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079.84</a:t>
                    </a:r>
                  </a:p>
                </c:rich>
              </c:tx>
              <c:dLblPos val="t"/>
              <c:showLegendKey val="0"/>
              <c:showVal val="1"/>
              <c:showCatName val="0"/>
              <c:showSerName val="0"/>
              <c:showPercent val="0"/>
              <c:showBubbleSize val="0"/>
            </c:dLbl>
            <c:dLbl>
              <c:idx val="2"/>
              <c:tx>
                <c:rich>
                  <a:bodyPr/>
                  <a:lstStyle/>
                  <a:p>
                    <a:r>
                      <a:t>944.23</a:t>
                    </a:r>
                  </a:p>
                </c:rich>
              </c:tx>
              <c:dLblPos val="t"/>
              <c:showLegendKey val="0"/>
              <c:showVal val="1"/>
              <c:showCatName val="0"/>
              <c:showSerName val="0"/>
              <c:showPercent val="0"/>
              <c:showBubbleSize val="0"/>
            </c:dLbl>
            <c:dLbl>
              <c:idx val="3"/>
              <c:tx>
                <c:rich>
                  <a:bodyPr/>
                  <a:lstStyle/>
                  <a:p>
                    <a:r>
                      <a:t>1060.20</a:t>
                    </a:r>
                  </a:p>
                </c:rich>
              </c:tx>
              <c:dLblPos val="t"/>
              <c:showLegendKey val="0"/>
              <c:showVal val="1"/>
              <c:showCatName val="0"/>
              <c:showSerName val="0"/>
              <c:showPercent val="0"/>
              <c:showBubbleSize val="0"/>
            </c:dLbl>
            <c:dLbl>
              <c:idx val="4"/>
              <c:tx>
                <c:rich>
                  <a:bodyPr/>
                  <a:lstStyle/>
                  <a:p>
                    <a:r>
                      <a:t>954.5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C$2:$C$6</c:f>
              <c:numCache>
                <c:formatCode>General</c:formatCode>
                <c:ptCount val="5"/>
                <c:pt idx="0">
                  <c:v>2338.1733</c:v>
                </c:pt>
                <c:pt idx="1">
                  <c:v>1079.8411</c:v>
                </c:pt>
                <c:pt idx="2">
                  <c:v>944.2312</c:v>
                </c:pt>
                <c:pt idx="3">
                  <c:v>1060.1959</c:v>
                </c:pt>
                <c:pt idx="4">
                  <c:v>954.51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0349</c:v>
                </c:pt>
                <c:pt idx="1">
                  <c:v>0.349093</c:v>
                </c:pt>
                <c:pt idx="2">
                  <c:v>0.12318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48683</c:v>
                </c:pt>
                <c:pt idx="1">
                  <c:v>0.389007</c:v>
                </c:pt>
                <c:pt idx="2">
                  <c:v>0.13412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85</c:v>
                </c:pt>
                <c:pt idx="1">
                  <c:v>0.017064</c:v>
                </c:pt>
                <c:pt idx="2">
                  <c:v>0.00509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J&amp;J</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1728</c:v>
                </c:pt>
                <c:pt idx="1">
                  <c:v>0.031723</c:v>
                </c:pt>
                <c:pt idx="2">
                  <c:v>0.01098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Ore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7696</c:v>
                </c:pt>
                <c:pt idx="1">
                  <c:v>0.012586</c:v>
                </c:pt>
                <c:pt idx="2">
                  <c:v>0.00670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Total Care De Mexic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90947</c:v>
                </c:pt>
                <c:pt idx="1">
                  <c:v>0.110635</c:v>
                </c:pt>
                <c:pt idx="2">
                  <c:v>0.03374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Inds.Lavin De Mexic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266</c:v>
                </c:pt>
                <c:pt idx="1">
                  <c:v>0.046029</c:v>
                </c:pt>
                <c:pt idx="2">
                  <c:v>0.02293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Pierre Fab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3851</c:v>
                </c:pt>
                <c:pt idx="1">
                  <c:v>0.003504</c:v>
                </c:pt>
                <c:pt idx="2">
                  <c:v>0.00110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6716</c:v>
                </c:pt>
                <c:pt idx="1">
                  <c:v>0.061839</c:v>
                </c:pt>
                <c:pt idx="2">
                  <c:v>0.0200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B$2:$B$6</c:f>
              <c:numCache>
                <c:formatCode>General</c:formatCode>
                <c:ptCount val="5"/>
                <c:pt idx="0">
                  <c:v>0.9983875302562473</c:v>
                </c:pt>
                <c:pt idx="1">
                  <c:v>0.9970880270039661</c:v>
                </c:pt>
                <c:pt idx="2">
                  <c:v>0.8021771656620675</c:v>
                </c:pt>
                <c:pt idx="3">
                  <c:v>0.9322956237770545</c:v>
                </c:pt>
                <c:pt idx="4">
                  <c:v>0.9280073497756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B$2:$B$6</c:f>
              <c:numCache>
                <c:formatCode>General</c:formatCode>
                <c:ptCount val="5"/>
                <c:pt idx="0">
                  <c:v>4089.390327</c:v>
                </c:pt>
                <c:pt idx="1">
                  <c:v>165.007272</c:v>
                </c:pt>
                <c:pt idx="2">
                  <c:v>52.770251</c:v>
                </c:pt>
                <c:pt idx="3">
                  <c:v>11.381203</c:v>
                </c:pt>
                <c:pt idx="4">
                  <c:v>10.597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079.84</a:t>
                    </a:r>
                  </a:p>
                </c:rich>
              </c:tx>
              <c:dLblPos val="t"/>
              <c:showLegendKey val="0"/>
              <c:showVal val="1"/>
              <c:showCatName val="0"/>
              <c:showSerName val="0"/>
              <c:showPercent val="0"/>
              <c:showBubbleSize val="0"/>
            </c:dLbl>
            <c:dLbl>
              <c:idx val="2"/>
              <c:tx>
                <c:rich>
                  <a:bodyPr/>
                  <a:lstStyle/>
                  <a:p>
                    <a:r>
                      <a:t>944.23</a:t>
                    </a:r>
                  </a:p>
                </c:rich>
              </c:tx>
              <c:dLblPos val="t"/>
              <c:showLegendKey val="0"/>
              <c:showVal val="1"/>
              <c:showCatName val="0"/>
              <c:showSerName val="0"/>
              <c:showPercent val="0"/>
              <c:showBubbleSize val="0"/>
            </c:dLbl>
            <c:dLbl>
              <c:idx val="3"/>
              <c:tx>
                <c:rich>
                  <a:bodyPr/>
                  <a:lstStyle/>
                  <a:p>
                    <a:r>
                      <a:t>1060.20</a:t>
                    </a:r>
                  </a:p>
                </c:rich>
              </c:tx>
              <c:dLblPos val="t"/>
              <c:showLegendKey val="0"/>
              <c:showVal val="1"/>
              <c:showCatName val="0"/>
              <c:showSerName val="0"/>
              <c:showPercent val="0"/>
              <c:showBubbleSize val="0"/>
            </c:dLbl>
            <c:dLbl>
              <c:idx val="4"/>
              <c:tx>
                <c:rich>
                  <a:bodyPr/>
                  <a:lstStyle/>
                  <a:p>
                    <a:r>
                      <a:t>954.5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C$2:$C$6</c:f>
              <c:numCache>
                <c:formatCode>General</c:formatCode>
                <c:ptCount val="5"/>
                <c:pt idx="0">
                  <c:v>2338.1733</c:v>
                </c:pt>
                <c:pt idx="1">
                  <c:v>1079.8411</c:v>
                </c:pt>
                <c:pt idx="2">
                  <c:v>944.2312</c:v>
                </c:pt>
                <c:pt idx="3">
                  <c:v>1060.1959</c:v>
                </c:pt>
                <c:pt idx="4">
                  <c:v>954.51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B$2:$B$6</c:f>
              <c:numCache>
                <c:formatCode>General</c:formatCode>
                <c:ptCount val="5"/>
                <c:pt idx="0">
                  <c:v>0.9983875302562473</c:v>
                </c:pt>
                <c:pt idx="1">
                  <c:v>0.9970880270039661</c:v>
                </c:pt>
                <c:pt idx="2">
                  <c:v>0.8021771656620675</c:v>
                </c:pt>
                <c:pt idx="3">
                  <c:v>0.9322956237770545</c:v>
                </c:pt>
                <c:pt idx="4">
                  <c:v>0.9280073497756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B$2:$B$6</c:f>
              <c:numCache>
                <c:formatCode>General</c:formatCode>
                <c:ptCount val="5"/>
                <c:pt idx="0">
                  <c:v>4089.390327</c:v>
                </c:pt>
                <c:pt idx="1">
                  <c:v>165.007272</c:v>
                </c:pt>
                <c:pt idx="2">
                  <c:v>52.770251</c:v>
                </c:pt>
                <c:pt idx="3">
                  <c:v>11.381203</c:v>
                </c:pt>
                <c:pt idx="4">
                  <c:v>10.597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079.84</a:t>
                    </a:r>
                  </a:p>
                </c:rich>
              </c:tx>
              <c:dLblPos val="t"/>
              <c:showLegendKey val="0"/>
              <c:showVal val="1"/>
              <c:showCatName val="0"/>
              <c:showSerName val="0"/>
              <c:showPercent val="0"/>
              <c:showBubbleSize val="0"/>
            </c:dLbl>
            <c:dLbl>
              <c:idx val="2"/>
              <c:tx>
                <c:rich>
                  <a:bodyPr/>
                  <a:lstStyle/>
                  <a:p>
                    <a:r>
                      <a:t>944.23</a:t>
                    </a:r>
                  </a:p>
                </c:rich>
              </c:tx>
              <c:dLblPos val="t"/>
              <c:showLegendKey val="0"/>
              <c:showVal val="1"/>
              <c:showCatName val="0"/>
              <c:showSerName val="0"/>
              <c:showPercent val="0"/>
              <c:showBubbleSize val="0"/>
            </c:dLbl>
            <c:dLbl>
              <c:idx val="3"/>
              <c:tx>
                <c:rich>
                  <a:bodyPr/>
                  <a:lstStyle/>
                  <a:p>
                    <a:r>
                      <a:t>1060.20</a:t>
                    </a:r>
                  </a:p>
                </c:rich>
              </c:tx>
              <c:dLblPos val="t"/>
              <c:showLegendKey val="0"/>
              <c:showVal val="1"/>
              <c:showCatName val="0"/>
              <c:showSerName val="0"/>
              <c:showPercent val="0"/>
              <c:showBubbleSize val="0"/>
            </c:dLbl>
            <c:dLbl>
              <c:idx val="4"/>
              <c:tx>
                <c:rich>
                  <a:bodyPr/>
                  <a:lstStyle/>
                  <a:p>
                    <a:r>
                      <a:t>954.5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C$2:$C$6</c:f>
              <c:numCache>
                <c:formatCode>General</c:formatCode>
                <c:ptCount val="5"/>
                <c:pt idx="0">
                  <c:v>2338.1733</c:v>
                </c:pt>
                <c:pt idx="1">
                  <c:v>1079.8411</c:v>
                </c:pt>
                <c:pt idx="2">
                  <c:v>944.2312</c:v>
                </c:pt>
                <c:pt idx="3">
                  <c:v>1060.1959</c:v>
                </c:pt>
                <c:pt idx="4">
                  <c:v>954.51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B$2:$B$6</c:f>
              <c:numCache>
                <c:formatCode>General</c:formatCode>
                <c:ptCount val="5"/>
                <c:pt idx="0">
                  <c:v>0.9983875302562473</c:v>
                </c:pt>
                <c:pt idx="1">
                  <c:v>0.9970880270039661</c:v>
                </c:pt>
                <c:pt idx="2">
                  <c:v>0.8021771656620675</c:v>
                </c:pt>
                <c:pt idx="3">
                  <c:v>0.9322956237770545</c:v>
                </c:pt>
                <c:pt idx="4">
                  <c:v>0.9280073497756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B$2:$B$6</c:f>
              <c:numCache>
                <c:formatCode>General</c:formatCode>
                <c:ptCount val="5"/>
                <c:pt idx="0">
                  <c:v>4089.390327</c:v>
                </c:pt>
                <c:pt idx="1">
                  <c:v>165.007272</c:v>
                </c:pt>
                <c:pt idx="2">
                  <c:v>52.770251</c:v>
                </c:pt>
                <c:pt idx="3">
                  <c:v>11.381203</c:v>
                </c:pt>
                <c:pt idx="4">
                  <c:v>10.597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079.84</a:t>
                    </a:r>
                  </a:p>
                </c:rich>
              </c:tx>
              <c:dLblPos val="t"/>
              <c:showLegendKey val="0"/>
              <c:showVal val="1"/>
              <c:showCatName val="0"/>
              <c:showSerName val="0"/>
              <c:showPercent val="0"/>
              <c:showBubbleSize val="0"/>
            </c:dLbl>
            <c:dLbl>
              <c:idx val="2"/>
              <c:tx>
                <c:rich>
                  <a:bodyPr/>
                  <a:lstStyle/>
                  <a:p>
                    <a:r>
                      <a:t>944.23</a:t>
                    </a:r>
                  </a:p>
                </c:rich>
              </c:tx>
              <c:dLblPos val="t"/>
              <c:showLegendKey val="0"/>
              <c:showVal val="1"/>
              <c:showCatName val="0"/>
              <c:showSerName val="0"/>
              <c:showPercent val="0"/>
              <c:showBubbleSize val="0"/>
            </c:dLbl>
            <c:dLbl>
              <c:idx val="3"/>
              <c:tx>
                <c:rich>
                  <a:bodyPr/>
                  <a:lstStyle/>
                  <a:p>
                    <a:r>
                      <a:t>1060.20</a:t>
                    </a:r>
                  </a:p>
                </c:rich>
              </c:tx>
              <c:dLblPos val="t"/>
              <c:showLegendKey val="0"/>
              <c:showVal val="1"/>
              <c:showCatName val="0"/>
              <c:showSerName val="0"/>
              <c:showPercent val="0"/>
              <c:showBubbleSize val="0"/>
            </c:dLbl>
            <c:dLbl>
              <c:idx val="4"/>
              <c:tx>
                <c:rich>
                  <a:bodyPr/>
                  <a:lstStyle/>
                  <a:p>
                    <a:r>
                      <a:t>954.5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C$2:$C$6</c:f>
              <c:numCache>
                <c:formatCode>General</c:formatCode>
                <c:ptCount val="5"/>
                <c:pt idx="0">
                  <c:v>2338.1733</c:v>
                </c:pt>
                <c:pt idx="1">
                  <c:v>1079.8411</c:v>
                </c:pt>
                <c:pt idx="2">
                  <c:v>944.2312</c:v>
                </c:pt>
                <c:pt idx="3">
                  <c:v>1060.1959</c:v>
                </c:pt>
                <c:pt idx="4">
                  <c:v>954.51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Walmart Express</c:v>
                </c:pt>
                <c:pt idx="4">
                  <c:v>Mi Bodega</c:v>
                </c:pt>
              </c:strCache>
            </c:strRef>
          </c:cat>
          <c:val>
            <c:numRef>
              <c:f>Sheet1!$B$2:$B$6</c:f>
              <c:numCache>
                <c:formatCode>General</c:formatCode>
                <c:ptCount val="5"/>
                <c:pt idx="0">
                  <c:v>0.9983875302562473</c:v>
                </c:pt>
                <c:pt idx="1">
                  <c:v>0.9970880270039661</c:v>
                </c:pt>
                <c:pt idx="2">
                  <c:v>0.8021771656620675</c:v>
                </c:pt>
                <c:pt idx="3">
                  <c:v>0.9322956237770545</c:v>
                </c:pt>
                <c:pt idx="4">
                  <c:v>0.9280073497756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B$2:$B$6</c:f>
              <c:numCache>
                <c:formatCode>General</c:formatCode>
                <c:ptCount val="5"/>
                <c:pt idx="0">
                  <c:v>3929.252437</c:v>
                </c:pt>
                <c:pt idx="1">
                  <c:v>152.887379</c:v>
                </c:pt>
                <c:pt idx="2">
                  <c:v>50.795042</c:v>
                </c:pt>
                <c:pt idx="3">
                  <c:v>10.587181</c:v>
                </c:pt>
                <c:pt idx="4">
                  <c:v>10.19202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138.89</a:t>
                    </a:r>
                  </a:p>
                </c:rich>
              </c:tx>
              <c:dLblPos val="t"/>
              <c:showLegendKey val="0"/>
              <c:showVal val="1"/>
              <c:showCatName val="0"/>
              <c:showSerName val="0"/>
              <c:showPercent val="0"/>
              <c:showBubbleSize val="0"/>
            </c:dLbl>
            <c:dLbl>
              <c:idx val="2"/>
              <c:tx>
                <c:rich>
                  <a:bodyPr/>
                  <a:lstStyle/>
                  <a:p>
                    <a:r>
                      <a:t>967.89</a:t>
                    </a:r>
                  </a:p>
                </c:rich>
              </c:tx>
              <c:dLblPos val="t"/>
              <c:showLegendKey val="0"/>
              <c:showVal val="1"/>
              <c:showCatName val="0"/>
              <c:showSerName val="0"/>
              <c:showPercent val="0"/>
              <c:showBubbleSize val="0"/>
            </c:dLbl>
            <c:dLbl>
              <c:idx val="3"/>
              <c:tx>
                <c:rich>
                  <a:bodyPr/>
                  <a:lstStyle/>
                  <a:p>
                    <a:r>
                      <a:t>953.71</a:t>
                    </a:r>
                  </a:p>
                </c:rich>
              </c:tx>
              <c:dLblPos val="t"/>
              <c:showLegendKey val="0"/>
              <c:showVal val="1"/>
              <c:showCatName val="0"/>
              <c:showSerName val="0"/>
              <c:showPercent val="0"/>
              <c:showBubbleSize val="0"/>
            </c:dLbl>
            <c:dLbl>
              <c:idx val="4"/>
              <c:tx>
                <c:rich>
                  <a:bodyPr/>
                  <a:lstStyle/>
                  <a:p>
                    <a:r>
                      <a:t>1098.7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C$2:$C$6</c:f>
              <c:numCache>
                <c:formatCode>General</c:formatCode>
                <c:ptCount val="5"/>
                <c:pt idx="0">
                  <c:v>2437.7268</c:v>
                </c:pt>
                <c:pt idx="1">
                  <c:v>1138.8938</c:v>
                </c:pt>
                <c:pt idx="2">
                  <c:v>967.8933</c:v>
                </c:pt>
                <c:pt idx="3">
                  <c:v>953.7142</c:v>
                </c:pt>
                <c:pt idx="4">
                  <c:v>1098.752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B$2:$B$6</c:f>
              <c:numCache>
                <c:formatCode>General</c:formatCode>
                <c:ptCount val="5"/>
                <c:pt idx="0">
                  <c:v>0.9973237707304932</c:v>
                </c:pt>
                <c:pt idx="1">
                  <c:v>1.0061104837226413</c:v>
                </c:pt>
                <c:pt idx="2">
                  <c:v>0.7954395878657001</c:v>
                </c:pt>
                <c:pt idx="3">
                  <c:v>0.9288648390091646</c:v>
                </c:pt>
                <c:pt idx="4">
                  <c:v>0.93334178882099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B$2:$B$6</c:f>
              <c:numCache>
                <c:formatCode>General</c:formatCode>
                <c:ptCount val="5"/>
                <c:pt idx="0">
                  <c:v>3929.252437</c:v>
                </c:pt>
                <c:pt idx="1">
                  <c:v>152.887379</c:v>
                </c:pt>
                <c:pt idx="2">
                  <c:v>50.795042</c:v>
                </c:pt>
                <c:pt idx="3">
                  <c:v>10.587181</c:v>
                </c:pt>
                <c:pt idx="4">
                  <c:v>10.19202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138.89</a:t>
                    </a:r>
                  </a:p>
                </c:rich>
              </c:tx>
              <c:dLblPos val="t"/>
              <c:showLegendKey val="0"/>
              <c:showVal val="1"/>
              <c:showCatName val="0"/>
              <c:showSerName val="0"/>
              <c:showPercent val="0"/>
              <c:showBubbleSize val="0"/>
            </c:dLbl>
            <c:dLbl>
              <c:idx val="2"/>
              <c:tx>
                <c:rich>
                  <a:bodyPr/>
                  <a:lstStyle/>
                  <a:p>
                    <a:r>
                      <a:t>967.89</a:t>
                    </a:r>
                  </a:p>
                </c:rich>
              </c:tx>
              <c:dLblPos val="t"/>
              <c:showLegendKey val="0"/>
              <c:showVal val="1"/>
              <c:showCatName val="0"/>
              <c:showSerName val="0"/>
              <c:showPercent val="0"/>
              <c:showBubbleSize val="0"/>
            </c:dLbl>
            <c:dLbl>
              <c:idx val="3"/>
              <c:tx>
                <c:rich>
                  <a:bodyPr/>
                  <a:lstStyle/>
                  <a:p>
                    <a:r>
                      <a:t>953.71</a:t>
                    </a:r>
                  </a:p>
                </c:rich>
              </c:tx>
              <c:dLblPos val="t"/>
              <c:showLegendKey val="0"/>
              <c:showVal val="1"/>
              <c:showCatName val="0"/>
              <c:showSerName val="0"/>
              <c:showPercent val="0"/>
              <c:showBubbleSize val="0"/>
            </c:dLbl>
            <c:dLbl>
              <c:idx val="4"/>
              <c:tx>
                <c:rich>
                  <a:bodyPr/>
                  <a:lstStyle/>
                  <a:p>
                    <a:r>
                      <a:t>1098.7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C$2:$C$6</c:f>
              <c:numCache>
                <c:formatCode>General</c:formatCode>
                <c:ptCount val="5"/>
                <c:pt idx="0">
                  <c:v>2437.7268</c:v>
                </c:pt>
                <c:pt idx="1">
                  <c:v>1138.8938</c:v>
                </c:pt>
                <c:pt idx="2">
                  <c:v>967.8933</c:v>
                </c:pt>
                <c:pt idx="3">
                  <c:v>953.7142</c:v>
                </c:pt>
                <c:pt idx="4">
                  <c:v>1098.752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a:solidFill>
                          <a:srgbClr val="FFFFFF"/>
                        </a:solidFill>
                      </a:rPr>
                      <a:t>630.4</a:t>
                    </a:r>
                  </a:p>
                </c:rich>
              </c:tx>
              <c:showLegendKey val="0"/>
              <c:showVal val="1"/>
              <c:showCatName val="0"/>
              <c:showSerName val="0"/>
              <c:showPercent val="0"/>
              <c:showBubbleSize val="0"/>
            </c:dLbl>
            <c:dLbl>
              <c:idx val="1"/>
              <c:tx>
                <c:rich>
                  <a:bodyPr/>
                  <a:lstStyle/>
                  <a:p>
                    <a:r>
                      <a:rPr>
                        <a:solidFill>
                          <a:srgbClr val="FFFFFF"/>
                        </a:solidFill>
                      </a:rPr>
                      <a:t>604.3</a:t>
                    </a:r>
                  </a:p>
                </c:rich>
              </c:tx>
              <c:showLegendKey val="0"/>
              <c:showVal val="1"/>
              <c:showCatName val="0"/>
              <c:showSerName val="0"/>
              <c:showPercent val="0"/>
              <c:showBubbleSize val="0"/>
            </c:dLbl>
            <c:dLbl>
              <c:idx val="2"/>
              <c:tx>
                <c:rich>
                  <a:bodyPr/>
                  <a:lstStyle/>
                  <a:p>
                    <a:r>
                      <a:rPr>
                        <a:solidFill>
                          <a:srgbClr val="FFFFFF"/>
                        </a:solidFill>
                      </a:rPr>
                      <a:t>20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30.375011</c:v>
                </c:pt>
                <c:pt idx="1">
                  <c:v>604.284954</c:v>
                </c:pt>
                <c:pt idx="2">
                  <c:v>204.7959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497.9</a:t>
                    </a:r>
                  </a:p>
                </c:rich>
              </c:tx>
              <c:showLegendKey val="0"/>
              <c:showVal val="1"/>
              <c:showCatName val="0"/>
              <c:showSerName val="0"/>
              <c:showPercent val="0"/>
              <c:showBubbleSize val="0"/>
            </c:dLbl>
            <c:dLbl>
              <c:idx val="1"/>
              <c:tx>
                <c:rich>
                  <a:bodyPr/>
                  <a:lstStyle/>
                  <a:p>
                    <a:r>
                      <a:rPr>
                        <a:solidFill>
                          <a:srgbClr val="FFFFFF"/>
                        </a:solidFill>
                      </a:rPr>
                      <a:t>476.4</a:t>
                    </a:r>
                  </a:p>
                </c:rich>
              </c:tx>
              <c:showLegendKey val="0"/>
              <c:showVal val="1"/>
              <c:showCatName val="0"/>
              <c:showSerName val="0"/>
              <c:showPercent val="0"/>
              <c:showBubbleSize val="0"/>
            </c:dLbl>
            <c:dLbl>
              <c:idx val="2"/>
              <c:tx>
                <c:rich>
                  <a:bodyPr/>
                  <a:lstStyle/>
                  <a:p>
                    <a:r>
                      <a:rPr>
                        <a:solidFill>
                          <a:srgbClr val="FFFFFF"/>
                        </a:solidFill>
                      </a:rPr>
                      <a:t>16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97.908986</c:v>
                </c:pt>
                <c:pt idx="1">
                  <c:v>476.356507</c:v>
                </c:pt>
                <c:pt idx="2">
                  <c:v>166.63874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a:solidFill>
                          <a:srgbClr val="FFFFFF"/>
                        </a:solidFill>
                      </a:rPr>
                      <a:t>99.3</a:t>
                    </a:r>
                  </a:p>
                </c:rich>
              </c:tx>
              <c:showLegendKey val="0"/>
              <c:showVal val="1"/>
              <c:showCatName val="0"/>
              <c:showSerName val="0"/>
              <c:showPercent val="0"/>
              <c:showBubbleSize val="0"/>
            </c:dLbl>
            <c:dLbl>
              <c:idx val="1"/>
              <c:tx>
                <c:rich>
                  <a:bodyPr/>
                  <a:lstStyle/>
                  <a:p>
                    <a:r>
                      <a:rPr>
                        <a:solidFill>
                          <a:srgbClr val="FFFFFF"/>
                        </a:solidFill>
                      </a:rPr>
                      <a:t>108.3</a:t>
                    </a:r>
                  </a:p>
                </c:rich>
              </c:tx>
              <c:showLegendKey val="0"/>
              <c:showVal val="1"/>
              <c:showCatName val="0"/>
              <c:showSerName val="0"/>
              <c:showPercent val="0"/>
              <c:showBubbleSize val="0"/>
            </c:dLbl>
            <c:dLbl>
              <c:idx val="2"/>
              <c:tx>
                <c:rich>
                  <a:bodyPr/>
                  <a:lstStyle/>
                  <a:p>
                    <a:r>
                      <a:rPr>
                        <a:solidFill>
                          <a:srgbClr val="FFFFFF"/>
                        </a:solidFill>
                      </a:rPr>
                      <a:t>3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9.34508</c:v>
                </c:pt>
                <c:pt idx="1">
                  <c:v>108.263356</c:v>
                </c:pt>
                <c:pt idx="2">
                  <c:v>35.81100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J&amp;J</c:v>
                </c:pt>
              </c:strCache>
            </c:strRef>
          </c:tx>
          <c:spPr>
            <a:solidFill>
              <a:srgbClr val="7F7F7F"/>
            </a:solidFill>
            <a:ln>
              <a:solidFill>
                <a:schemeClr val="bg1"/>
              </a:solidFill>
            </a:ln>
            <a:effectLst/>
          </c:spPr>
          <c:invertIfNegative val="0"/>
          <c:dLbls>
            <c:dLbl>
              <c:idx val="0"/>
              <c:tx>
                <c:rich>
                  <a:bodyPr/>
                  <a:lstStyle/>
                  <a:p>
                    <a:r>
                      <a:rPr>
                        <a:solidFill>
                          <a:srgbClr val="FFFFFF"/>
                        </a:solidFill>
                      </a:rPr>
                      <a:t>64.3</a:t>
                    </a:r>
                  </a:p>
                </c:rich>
              </c:tx>
              <c:showLegendKey val="0"/>
              <c:showVal val="1"/>
              <c:showCatName val="0"/>
              <c:showSerName val="0"/>
              <c:showPercent val="0"/>
              <c:showBubbleSize val="0"/>
            </c:dLbl>
            <c:dLbl>
              <c:idx val="1"/>
              <c:tx>
                <c:rich>
                  <a:bodyPr/>
                  <a:lstStyle/>
                  <a:p>
                    <a:r>
                      <a:rPr>
                        <a:solidFill>
                          <a:srgbClr val="FFFFFF"/>
                        </a:solidFill>
                      </a:rPr>
                      <a:t>102.3</a:t>
                    </a:r>
                  </a:p>
                </c:rich>
              </c:tx>
              <c:showLegendKey val="0"/>
              <c:showVal val="1"/>
              <c:showCatName val="0"/>
              <c:showSerName val="0"/>
              <c:showPercent val="0"/>
              <c:showBubbleSize val="0"/>
            </c:dLbl>
            <c:dLbl>
              <c:idx val="2"/>
              <c:tx>
                <c:rich>
                  <a:bodyPr/>
                  <a:lstStyle/>
                  <a:p>
                    <a:r>
                      <a:rPr>
                        <a:solidFill>
                          <a:srgbClr val="FFFFFF"/>
                        </a:solidFill>
                      </a:rPr>
                      <a:t>3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4.30795</c:v>
                </c:pt>
                <c:pt idx="1">
                  <c:v>102.333352</c:v>
                </c:pt>
                <c:pt idx="2">
                  <c:v>35.15609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Oreal</c:v>
                </c:pt>
              </c:strCache>
            </c:strRef>
          </c:tx>
          <c:spPr>
            <a:solidFill>
              <a:srgbClr val="575555"/>
            </a:solidFill>
            <a:ln>
              <a:solidFill>
                <a:schemeClr val="bg1"/>
              </a:solidFill>
            </a:ln>
            <a:effectLst/>
          </c:spPr>
          <c:invertIfNegative val="0"/>
          <c:dLbls>
            <c:dLbl>
              <c:idx val="0"/>
              <c:tx>
                <c:rich>
                  <a:bodyPr/>
                  <a:lstStyle/>
                  <a:p>
                    <a:r>
                      <a:rPr>
                        <a:solidFill>
                          <a:srgbClr val="FFFFFF"/>
                        </a:solidFill>
                      </a:rPr>
                      <a:t>64.8</a:t>
                    </a:r>
                  </a:p>
                </c:rich>
              </c:tx>
              <c:showLegendKey val="0"/>
              <c:showVal val="1"/>
              <c:showCatName val="0"/>
              <c:showSerName val="0"/>
              <c:showPercent val="0"/>
              <c:showBubbleSize val="0"/>
            </c:dLbl>
            <c:dLbl>
              <c:idx val="1"/>
              <c:tx>
                <c:rich>
                  <a:bodyPr/>
                  <a:lstStyle/>
                  <a:p>
                    <a:r>
                      <a:rPr>
                        <a:solidFill>
                          <a:srgbClr val="FFFFFF"/>
                        </a:solidFill>
                      </a:rPr>
                      <a:t>91.4</a:t>
                    </a:r>
                  </a:p>
                </c:rich>
              </c:tx>
              <c:showLegendKey val="0"/>
              <c:showVal val="1"/>
              <c:showCatName val="0"/>
              <c:showSerName val="0"/>
              <c:showPercent val="0"/>
              <c:showBubbleSize val="0"/>
            </c:dLbl>
            <c:dLbl>
              <c:idx val="2"/>
              <c:tx>
                <c:rich>
                  <a:bodyPr/>
                  <a:lstStyle/>
                  <a:p>
                    <a:r>
                      <a:rPr>
                        <a:solidFill>
                          <a:srgbClr val="FFFFFF"/>
                        </a:solidFill>
                      </a:rPr>
                      <a:t>4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64.76008</c:v>
                </c:pt>
                <c:pt idx="1">
                  <c:v>91.370967</c:v>
                </c:pt>
                <c:pt idx="2">
                  <c:v>40.98891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a:solidFill>
                          <a:srgbClr val="FFFFFF"/>
                        </a:solidFill>
                      </a:rPr>
                      <a:t>92.5</a:t>
                    </a:r>
                  </a:p>
                </c:rich>
              </c:tx>
              <c:showLegendKey val="0"/>
              <c:showVal val="1"/>
              <c:showCatName val="0"/>
              <c:showSerName val="0"/>
              <c:showPercent val="0"/>
              <c:showBubbleSize val="0"/>
            </c:dLbl>
            <c:dLbl>
              <c:idx val="1"/>
              <c:tx>
                <c:rich>
                  <a:bodyPr/>
                  <a:lstStyle/>
                  <a:p>
                    <a:r>
                      <a:rPr>
                        <a:solidFill>
                          <a:srgbClr val="FFFFFF"/>
                        </a:solidFill>
                      </a:rPr>
                      <a:t>67.9</a:t>
                    </a:r>
                  </a:p>
                </c:rich>
              </c:tx>
              <c:showLegendKey val="0"/>
              <c:showVal val="1"/>
              <c:showCatName val="0"/>
              <c:showSerName val="0"/>
              <c:showPercent val="0"/>
              <c:showBubbleSize val="0"/>
            </c:dLbl>
            <c:dLbl>
              <c:idx val="2"/>
              <c:tx>
                <c:rich>
                  <a:bodyPr/>
                  <a:lstStyle/>
                  <a:p>
                    <a:r>
                      <a:rPr>
                        <a:solidFill>
                          <a:srgbClr val="FFFFFF"/>
                        </a:solidFill>
                      </a:rPr>
                      <a:t>2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92.545727</c:v>
                </c:pt>
                <c:pt idx="1">
                  <c:v>67.852003</c:v>
                </c:pt>
                <c:pt idx="2">
                  <c:v>22.4037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Inds.Lavin De Mexico</c:v>
                </c:pt>
              </c:strCache>
            </c:strRef>
          </c:tx>
          <c:spPr>
            <a:solidFill>
              <a:srgbClr val="575555"/>
            </a:solidFill>
            <a:ln>
              <a:solidFill>
                <a:schemeClr val="bg1"/>
              </a:solidFill>
            </a:ln>
            <a:effectLst/>
          </c:spPr>
          <c:invertIfNegative val="0"/>
          <c:dLbls>
            <c:dLbl>
              <c:idx val="0"/>
              <c:tx>
                <c:rich>
                  <a:bodyPr/>
                  <a:lstStyle/>
                  <a:p>
                    <a:r>
                      <a:rPr>
                        <a:solidFill>
                          <a:srgbClr val="FFFFFF"/>
                        </a:solidFill>
                      </a:rPr>
                      <a:t>18.6</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8.612038</c:v>
                </c:pt>
                <c:pt idx="1">
                  <c:v>28.684078</c:v>
                </c:pt>
                <c:pt idx="2">
                  <c:v>14.26537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Pierre Fabre</c:v>
                </c:pt>
              </c:strCache>
            </c:strRef>
          </c:tx>
          <c:spPr>
            <a:solidFill>
              <a:srgbClr val="575555"/>
            </a:solidFill>
            <a:ln>
              <a:solidFill>
                <a:schemeClr val="bg1"/>
              </a:solidFill>
            </a:ln>
            <a:effectLst/>
          </c:spPr>
          <c:invertIfNegative val="0"/>
          <c:dLbls>
            <c:dLbl>
              <c:idx val="0"/>
              <c:tx>
                <c:rich>
                  <a:bodyPr/>
                  <a:lstStyle/>
                  <a:p>
                    <a:r>
                      <a:rPr>
                        <a:solidFill>
                          <a:srgbClr val="FFFFFF"/>
                        </a:solidFill>
                      </a:rPr>
                      <a:t>23.7</a:t>
                    </a:r>
                  </a:p>
                </c:rich>
              </c:tx>
              <c:showLegendKey val="0"/>
              <c:showVal val="1"/>
              <c:showCatName val="0"/>
              <c:showSerName val="0"/>
              <c:showPercent val="0"/>
              <c:showBubbleSize val="0"/>
            </c:dLbl>
            <c:dLbl>
              <c:idx val="1"/>
              <c:tx>
                <c:rich>
                  <a:bodyPr/>
                  <a:lstStyle/>
                  <a:p>
                    <a:r>
                      <a:rPr>
                        <a:solidFill>
                          <a:srgbClr val="FFFFFF"/>
                        </a:solidFill>
                      </a:rPr>
                      <a:t>23.8</a:t>
                    </a:r>
                  </a:p>
                </c:rich>
              </c:tx>
              <c:showLegendKey val="0"/>
              <c:showVal val="1"/>
              <c:showCatName val="0"/>
              <c:showSerName val="0"/>
              <c:showPercent val="0"/>
              <c:showBubbleSize val="0"/>
            </c:dLbl>
            <c:dLbl>
              <c:idx val="2"/>
              <c:tx>
                <c:rich>
                  <a:bodyPr/>
                  <a:lstStyle/>
                  <a:p>
                    <a:r>
                      <a:rPr>
                        <a:solidFill>
                          <a:srgbClr val="FFFFFF"/>
                        </a:solidFill>
                      </a:rPr>
                      <a:t>7.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3.728945</c:v>
                </c:pt>
                <c:pt idx="1">
                  <c:v>23.769225</c:v>
                </c:pt>
                <c:pt idx="2">
                  <c:v>7.65484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04.4</a:t>
                    </a:r>
                  </a:p>
                </c:rich>
              </c:tx>
              <c:showLegendKey val="0"/>
              <c:showVal val="1"/>
              <c:showCatName val="0"/>
              <c:showSerName val="0"/>
              <c:showPercent val="0"/>
              <c:showBubbleSize val="0"/>
            </c:dLbl>
            <c:dLbl>
              <c:idx val="1"/>
              <c:tx>
                <c:rich>
                  <a:bodyPr/>
                  <a:lstStyle/>
                  <a:p>
                    <a:r>
                      <a:rPr>
                        <a:solidFill>
                          <a:srgbClr val="FFFFFF"/>
                        </a:solidFill>
                      </a:rPr>
                      <a:t>113.5</a:t>
                    </a:r>
                  </a:p>
                </c:rich>
              </c:tx>
              <c:showLegendKey val="0"/>
              <c:showVal val="1"/>
              <c:showCatName val="0"/>
              <c:showSerName val="0"/>
              <c:showPercent val="0"/>
              <c:showBubbleSize val="0"/>
            </c:dLbl>
            <c:dLbl>
              <c:idx val="2"/>
              <c:tx>
                <c:rich>
                  <a:bodyPr/>
                  <a:lstStyle/>
                  <a:p>
                    <a:r>
                      <a:rPr>
                        <a:solidFill>
                          <a:srgbClr val="FFFFFF"/>
                        </a:solidFill>
                      </a:rPr>
                      <a:t>3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4.426233</c:v>
                </c:pt>
                <c:pt idx="1">
                  <c:v>113.461637</c:v>
                </c:pt>
                <c:pt idx="2">
                  <c:v>36.95894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B$2:$B$6</c:f>
              <c:numCache>
                <c:formatCode>General</c:formatCode>
                <c:ptCount val="5"/>
                <c:pt idx="0">
                  <c:v>0.9973237707304932</c:v>
                </c:pt>
                <c:pt idx="1">
                  <c:v>1.0061104837226413</c:v>
                </c:pt>
                <c:pt idx="2">
                  <c:v>0.7954395878657001</c:v>
                </c:pt>
                <c:pt idx="3">
                  <c:v>0.9288648390091646</c:v>
                </c:pt>
                <c:pt idx="4">
                  <c:v>0.93334178882099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B$2:$B$6</c:f>
              <c:numCache>
                <c:formatCode>General</c:formatCode>
                <c:ptCount val="5"/>
                <c:pt idx="0">
                  <c:v>3929.252437</c:v>
                </c:pt>
                <c:pt idx="1">
                  <c:v>152.887379</c:v>
                </c:pt>
                <c:pt idx="2">
                  <c:v>50.795042</c:v>
                </c:pt>
                <c:pt idx="3">
                  <c:v>10.587181</c:v>
                </c:pt>
                <c:pt idx="4">
                  <c:v>10.19202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138.89</a:t>
                    </a:r>
                  </a:p>
                </c:rich>
              </c:tx>
              <c:dLblPos val="t"/>
              <c:showLegendKey val="0"/>
              <c:showVal val="1"/>
              <c:showCatName val="0"/>
              <c:showSerName val="0"/>
              <c:showPercent val="0"/>
              <c:showBubbleSize val="0"/>
            </c:dLbl>
            <c:dLbl>
              <c:idx val="2"/>
              <c:tx>
                <c:rich>
                  <a:bodyPr/>
                  <a:lstStyle/>
                  <a:p>
                    <a:r>
                      <a:t>967.89</a:t>
                    </a:r>
                  </a:p>
                </c:rich>
              </c:tx>
              <c:dLblPos val="t"/>
              <c:showLegendKey val="0"/>
              <c:showVal val="1"/>
              <c:showCatName val="0"/>
              <c:showSerName val="0"/>
              <c:showPercent val="0"/>
              <c:showBubbleSize val="0"/>
            </c:dLbl>
            <c:dLbl>
              <c:idx val="3"/>
              <c:tx>
                <c:rich>
                  <a:bodyPr/>
                  <a:lstStyle/>
                  <a:p>
                    <a:r>
                      <a:t>953.71</a:t>
                    </a:r>
                  </a:p>
                </c:rich>
              </c:tx>
              <c:dLblPos val="t"/>
              <c:showLegendKey val="0"/>
              <c:showVal val="1"/>
              <c:showCatName val="0"/>
              <c:showSerName val="0"/>
              <c:showPercent val="0"/>
              <c:showBubbleSize val="0"/>
            </c:dLbl>
            <c:dLbl>
              <c:idx val="4"/>
              <c:tx>
                <c:rich>
                  <a:bodyPr/>
                  <a:lstStyle/>
                  <a:p>
                    <a:r>
                      <a:t>1098.7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C$2:$C$6</c:f>
              <c:numCache>
                <c:formatCode>General</c:formatCode>
                <c:ptCount val="5"/>
                <c:pt idx="0">
                  <c:v>2437.7268</c:v>
                </c:pt>
                <c:pt idx="1">
                  <c:v>1138.8938</c:v>
                </c:pt>
                <c:pt idx="2">
                  <c:v>967.8933</c:v>
                </c:pt>
                <c:pt idx="3">
                  <c:v>953.7142</c:v>
                </c:pt>
                <c:pt idx="4">
                  <c:v>1098.752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B$2:$B$6</c:f>
              <c:numCache>
                <c:formatCode>General</c:formatCode>
                <c:ptCount val="5"/>
                <c:pt idx="0">
                  <c:v>0.9973237707304932</c:v>
                </c:pt>
                <c:pt idx="1">
                  <c:v>1.0061104837226413</c:v>
                </c:pt>
                <c:pt idx="2">
                  <c:v>0.7954395878657001</c:v>
                </c:pt>
                <c:pt idx="3">
                  <c:v>0.9288648390091646</c:v>
                </c:pt>
                <c:pt idx="4">
                  <c:v>0.93334178882099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B$2:$B$6</c:f>
              <c:numCache>
                <c:formatCode>General</c:formatCode>
                <c:ptCount val="5"/>
                <c:pt idx="0">
                  <c:v>3929.252437</c:v>
                </c:pt>
                <c:pt idx="1">
                  <c:v>152.887379</c:v>
                </c:pt>
                <c:pt idx="2">
                  <c:v>50.795042</c:v>
                </c:pt>
                <c:pt idx="3">
                  <c:v>10.587181</c:v>
                </c:pt>
                <c:pt idx="4">
                  <c:v>10.19202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138.89</a:t>
                    </a:r>
                  </a:p>
                </c:rich>
              </c:tx>
              <c:dLblPos val="t"/>
              <c:showLegendKey val="0"/>
              <c:showVal val="1"/>
              <c:showCatName val="0"/>
              <c:showSerName val="0"/>
              <c:showPercent val="0"/>
              <c:showBubbleSize val="0"/>
            </c:dLbl>
            <c:dLbl>
              <c:idx val="2"/>
              <c:tx>
                <c:rich>
                  <a:bodyPr/>
                  <a:lstStyle/>
                  <a:p>
                    <a:r>
                      <a:t>967.89</a:t>
                    </a:r>
                  </a:p>
                </c:rich>
              </c:tx>
              <c:dLblPos val="t"/>
              <c:showLegendKey val="0"/>
              <c:showVal val="1"/>
              <c:showCatName val="0"/>
              <c:showSerName val="0"/>
              <c:showPercent val="0"/>
              <c:showBubbleSize val="0"/>
            </c:dLbl>
            <c:dLbl>
              <c:idx val="3"/>
              <c:tx>
                <c:rich>
                  <a:bodyPr/>
                  <a:lstStyle/>
                  <a:p>
                    <a:r>
                      <a:t>953.71</a:t>
                    </a:r>
                  </a:p>
                </c:rich>
              </c:tx>
              <c:dLblPos val="t"/>
              <c:showLegendKey val="0"/>
              <c:showVal val="1"/>
              <c:showCatName val="0"/>
              <c:showSerName val="0"/>
              <c:showPercent val="0"/>
              <c:showBubbleSize val="0"/>
            </c:dLbl>
            <c:dLbl>
              <c:idx val="4"/>
              <c:tx>
                <c:rich>
                  <a:bodyPr/>
                  <a:lstStyle/>
                  <a:p>
                    <a:r>
                      <a:t>1098.7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C$2:$C$6</c:f>
              <c:numCache>
                <c:formatCode>General</c:formatCode>
                <c:ptCount val="5"/>
                <c:pt idx="0">
                  <c:v>2437.7268</c:v>
                </c:pt>
                <c:pt idx="1">
                  <c:v>1138.8938</c:v>
                </c:pt>
                <c:pt idx="2">
                  <c:v>967.8933</c:v>
                </c:pt>
                <c:pt idx="3">
                  <c:v>953.7142</c:v>
                </c:pt>
                <c:pt idx="4">
                  <c:v>1098.752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tional</c:v>
                </c:pt>
                <c:pt idx="1">
                  <c:v>Walmart Supercenter</c:v>
                </c:pt>
                <c:pt idx="2">
                  <c:v>Bodega Aurrera</c:v>
                </c:pt>
                <c:pt idx="3">
                  <c:v>Mi Bodega</c:v>
                </c:pt>
                <c:pt idx="4">
                  <c:v>Walmart Express</c:v>
                </c:pt>
              </c:strCache>
            </c:strRef>
          </c:cat>
          <c:val>
            <c:numRef>
              <c:f>Sheet1!$B$2:$B$6</c:f>
              <c:numCache>
                <c:formatCode>General</c:formatCode>
                <c:ptCount val="5"/>
                <c:pt idx="0">
                  <c:v>0.9973237707304932</c:v>
                </c:pt>
                <c:pt idx="1">
                  <c:v>1.0061104837226413</c:v>
                </c:pt>
                <c:pt idx="2">
                  <c:v>0.7954395878657001</c:v>
                </c:pt>
                <c:pt idx="3">
                  <c:v>0.9288648390091646</c:v>
                </c:pt>
                <c:pt idx="4">
                  <c:v>0.93334178882099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4089.390327</c:v>
                </c:pt>
                <c:pt idx="1">
                  <c:v>3728.719494</c:v>
                </c:pt>
                <c:pt idx="2">
                  <c:v>25.48477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2378.04</a:t>
                    </a:r>
                  </a:p>
                </c:rich>
              </c:tx>
              <c:dLblPos val="t"/>
              <c:showLegendKey val="0"/>
              <c:showVal val="1"/>
              <c:showCatName val="0"/>
              <c:showSerName val="0"/>
              <c:showPercent val="0"/>
              <c:showBubbleSize val="0"/>
            </c:dLbl>
            <c:dLbl>
              <c:idx val="2"/>
              <c:tx>
                <c:rich>
                  <a:bodyPr/>
                  <a:lstStyle/>
                  <a:p>
                    <a:r>
                      <a:t>1307.65</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C$2:$C$4</c:f>
              <c:numCache>
                <c:formatCode>General</c:formatCode>
                <c:ptCount val="3"/>
                <c:pt idx="0">
                  <c:v>2338.1733</c:v>
                </c:pt>
                <c:pt idx="1">
                  <c:v>2378.0387</c:v>
                </c:pt>
                <c:pt idx="2">
                  <c:v>1307.64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0.9983875302562473</c:v>
                </c:pt>
                <c:pt idx="1">
                  <c:v>0.9946771435548442</c:v>
                </c:pt>
                <c:pt idx="2">
                  <c:v>0.79876628164553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4089.390327</c:v>
                </c:pt>
                <c:pt idx="1">
                  <c:v>3728.719494</c:v>
                </c:pt>
                <c:pt idx="2">
                  <c:v>25.48477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2378.04</a:t>
                    </a:r>
                  </a:p>
                </c:rich>
              </c:tx>
              <c:dLblPos val="t"/>
              <c:showLegendKey val="0"/>
              <c:showVal val="1"/>
              <c:showCatName val="0"/>
              <c:showSerName val="0"/>
              <c:showPercent val="0"/>
              <c:showBubbleSize val="0"/>
            </c:dLbl>
            <c:dLbl>
              <c:idx val="2"/>
              <c:tx>
                <c:rich>
                  <a:bodyPr/>
                  <a:lstStyle/>
                  <a:p>
                    <a:r>
                      <a:t>1307.65</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C$2:$C$4</c:f>
              <c:numCache>
                <c:formatCode>General</c:formatCode>
                <c:ptCount val="3"/>
                <c:pt idx="0">
                  <c:v>2338.1733</c:v>
                </c:pt>
                <c:pt idx="1">
                  <c:v>2378.0387</c:v>
                </c:pt>
                <c:pt idx="2">
                  <c:v>1307.64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0.9983875302562473</c:v>
                </c:pt>
                <c:pt idx="1">
                  <c:v>0.9946771435548442</c:v>
                </c:pt>
                <c:pt idx="2">
                  <c:v>0.79876628164553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4089.390327</c:v>
                </c:pt>
                <c:pt idx="1">
                  <c:v>3728.719494</c:v>
                </c:pt>
                <c:pt idx="2">
                  <c:v>25.48477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2378.04</a:t>
                    </a:r>
                  </a:p>
                </c:rich>
              </c:tx>
              <c:dLblPos val="t"/>
              <c:showLegendKey val="0"/>
              <c:showVal val="1"/>
              <c:showCatName val="0"/>
              <c:showSerName val="0"/>
              <c:showPercent val="0"/>
              <c:showBubbleSize val="0"/>
            </c:dLbl>
            <c:dLbl>
              <c:idx val="2"/>
              <c:tx>
                <c:rich>
                  <a:bodyPr/>
                  <a:lstStyle/>
                  <a:p>
                    <a:r>
                      <a:t>1307.65</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C$2:$C$4</c:f>
              <c:numCache>
                <c:formatCode>General</c:formatCode>
                <c:ptCount val="3"/>
                <c:pt idx="0">
                  <c:v>2338.1733</c:v>
                </c:pt>
                <c:pt idx="1">
                  <c:v>2378.0387</c:v>
                </c:pt>
                <c:pt idx="2">
                  <c:v>1307.64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8281</c:v>
                </c:pt>
                <c:pt idx="1">
                  <c:v>0.139488</c:v>
                </c:pt>
                <c:pt idx="2">
                  <c:v>0.04804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0.9983875302562473</c:v>
                </c:pt>
                <c:pt idx="1">
                  <c:v>0.9946771435548442</c:v>
                </c:pt>
                <c:pt idx="2">
                  <c:v>0.79876628164553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4089.390327</c:v>
                </c:pt>
                <c:pt idx="1">
                  <c:v>3728.719494</c:v>
                </c:pt>
                <c:pt idx="2">
                  <c:v>25.48477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2378.04</a:t>
                    </a:r>
                  </a:p>
                </c:rich>
              </c:tx>
              <c:dLblPos val="t"/>
              <c:showLegendKey val="0"/>
              <c:showVal val="1"/>
              <c:showCatName val="0"/>
              <c:showSerName val="0"/>
              <c:showPercent val="0"/>
              <c:showBubbleSize val="0"/>
            </c:dLbl>
            <c:dLbl>
              <c:idx val="2"/>
              <c:tx>
                <c:rich>
                  <a:bodyPr/>
                  <a:lstStyle/>
                  <a:p>
                    <a:r>
                      <a:t>1307.65</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C$2:$C$4</c:f>
              <c:numCache>
                <c:formatCode>General</c:formatCode>
                <c:ptCount val="3"/>
                <c:pt idx="0">
                  <c:v>2338.1733</c:v>
                </c:pt>
                <c:pt idx="1">
                  <c:v>2378.0387</c:v>
                </c:pt>
                <c:pt idx="2">
                  <c:v>1307.64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0.9983875302562473</c:v>
                </c:pt>
                <c:pt idx="1">
                  <c:v>0.9946771435548442</c:v>
                </c:pt>
                <c:pt idx="2">
                  <c:v>0.79876628164553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3929.252437</c:v>
                </c:pt>
                <c:pt idx="1">
                  <c:v>3574.107035</c:v>
                </c:pt>
                <c:pt idx="2">
                  <c:v>25.0652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2482.59</a:t>
                    </a:r>
                  </a:p>
                </c:rich>
              </c:tx>
              <c:dLblPos val="t"/>
              <c:showLegendKey val="0"/>
              <c:showVal val="1"/>
              <c:showCatName val="0"/>
              <c:showSerName val="0"/>
              <c:showPercent val="0"/>
              <c:showBubbleSize val="0"/>
            </c:dLbl>
            <c:dLbl>
              <c:idx val="2"/>
              <c:tx>
                <c:rich>
                  <a:bodyPr/>
                  <a:lstStyle/>
                  <a:p>
                    <a:r>
                      <a:t>1337.74</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C$2:$C$4</c:f>
              <c:numCache>
                <c:formatCode>General</c:formatCode>
                <c:ptCount val="3"/>
                <c:pt idx="0">
                  <c:v>2437.7268</c:v>
                </c:pt>
                <c:pt idx="1">
                  <c:v>2482.5929</c:v>
                </c:pt>
                <c:pt idx="2">
                  <c:v>1337.739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0.9973237707304932</c:v>
                </c:pt>
                <c:pt idx="1">
                  <c:v>0.9936946709395429</c:v>
                </c:pt>
                <c:pt idx="2">
                  <c:v>0.792389823444816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3929.252437</c:v>
                </c:pt>
                <c:pt idx="1">
                  <c:v>3574.107035</c:v>
                </c:pt>
                <c:pt idx="2">
                  <c:v>25.0652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2482.59</a:t>
                    </a:r>
                  </a:p>
                </c:rich>
              </c:tx>
              <c:dLblPos val="t"/>
              <c:showLegendKey val="0"/>
              <c:showVal val="1"/>
              <c:showCatName val="0"/>
              <c:showSerName val="0"/>
              <c:showPercent val="0"/>
              <c:showBubbleSize val="0"/>
            </c:dLbl>
            <c:dLbl>
              <c:idx val="2"/>
              <c:tx>
                <c:rich>
                  <a:bodyPr/>
                  <a:lstStyle/>
                  <a:p>
                    <a:r>
                      <a:t>1337.74</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C$2:$C$4</c:f>
              <c:numCache>
                <c:formatCode>General</c:formatCode>
                <c:ptCount val="3"/>
                <c:pt idx="0">
                  <c:v>2437.7268</c:v>
                </c:pt>
                <c:pt idx="1">
                  <c:v>2482.5929</c:v>
                </c:pt>
                <c:pt idx="2">
                  <c:v>1337.739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0.9973237707304932</c:v>
                </c:pt>
                <c:pt idx="1">
                  <c:v>0.9936946709395429</c:v>
                </c:pt>
                <c:pt idx="2">
                  <c:v>0.792389823444816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3929.252437</c:v>
                </c:pt>
                <c:pt idx="1">
                  <c:v>3574.107035</c:v>
                </c:pt>
                <c:pt idx="2">
                  <c:v>25.0652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2482.59</a:t>
                    </a:r>
                  </a:p>
                </c:rich>
              </c:tx>
              <c:dLblPos val="t"/>
              <c:showLegendKey val="0"/>
              <c:showVal val="1"/>
              <c:showCatName val="0"/>
              <c:showSerName val="0"/>
              <c:showPercent val="0"/>
              <c:showBubbleSize val="0"/>
            </c:dLbl>
            <c:dLbl>
              <c:idx val="2"/>
              <c:tx>
                <c:rich>
                  <a:bodyPr/>
                  <a:lstStyle/>
                  <a:p>
                    <a:r>
                      <a:t>1337.74</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C$2:$C$4</c:f>
              <c:numCache>
                <c:formatCode>General</c:formatCode>
                <c:ptCount val="3"/>
                <c:pt idx="0">
                  <c:v>2437.7268</c:v>
                </c:pt>
                <c:pt idx="1">
                  <c:v>2482.5929</c:v>
                </c:pt>
                <c:pt idx="2">
                  <c:v>1337.739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0.9973237707304932</c:v>
                </c:pt>
                <c:pt idx="1">
                  <c:v>0.9936946709395429</c:v>
                </c:pt>
                <c:pt idx="2">
                  <c:v>0.792389823444816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3929.252437</c:v>
                </c:pt>
                <c:pt idx="1">
                  <c:v>3574.107035</c:v>
                </c:pt>
                <c:pt idx="2">
                  <c:v>25.0652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2482.59</a:t>
                    </a:r>
                  </a:p>
                </c:rich>
              </c:tx>
              <c:dLblPos val="t"/>
              <c:showLegendKey val="0"/>
              <c:showVal val="1"/>
              <c:showCatName val="0"/>
              <c:showSerName val="0"/>
              <c:showPercent val="0"/>
              <c:showBubbleSize val="0"/>
            </c:dLbl>
            <c:dLbl>
              <c:idx val="2"/>
              <c:tx>
                <c:rich>
                  <a:bodyPr/>
                  <a:lstStyle/>
                  <a:p>
                    <a:r>
                      <a:t>1337.74</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C$2:$C$4</c:f>
              <c:numCache>
                <c:formatCode>General</c:formatCode>
                <c:ptCount val="3"/>
                <c:pt idx="0">
                  <c:v>2437.7268</c:v>
                </c:pt>
                <c:pt idx="1">
                  <c:v>2482.5929</c:v>
                </c:pt>
                <c:pt idx="2">
                  <c:v>1337.739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5462</c:v>
                </c:pt>
                <c:pt idx="1">
                  <c:v>0.242213</c:v>
                </c:pt>
                <c:pt idx="2">
                  <c:v>0.08560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56.3</a:t>
                    </a:r>
                  </a:p>
                </c:rich>
              </c:tx>
              <c:showLegendKey val="0"/>
              <c:showVal val="1"/>
              <c:showCatName val="0"/>
              <c:showSerName val="0"/>
              <c:showPercent val="0"/>
              <c:showBubbleSize val="0"/>
            </c:dLbl>
            <c:dLbl>
              <c:idx val="1"/>
              <c:tx>
                <c:rich>
                  <a:bodyPr/>
                  <a:lstStyle/>
                  <a:p>
                    <a:r>
                      <a:rPr>
                        <a:solidFill>
                          <a:srgbClr val="FFFFFF"/>
                        </a:solidFill>
                      </a:rPr>
                      <a:t>157.8</a:t>
                    </a:r>
                  </a:p>
                </c:rich>
              </c:tx>
              <c:showLegendKey val="0"/>
              <c:showVal val="1"/>
              <c:showCatName val="0"/>
              <c:showSerName val="0"/>
              <c:showPercent val="0"/>
              <c:showBubbleSize val="0"/>
            </c:dLbl>
            <c:dLbl>
              <c:idx val="2"/>
              <c:tx>
                <c:rich>
                  <a:bodyPr/>
                  <a:lstStyle/>
                  <a:p>
                    <a:r>
                      <a:rPr>
                        <a:solidFill>
                          <a:srgbClr val="FFFFFF"/>
                        </a:solidFill>
                      </a:rPr>
                      <a:t>5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6.293921</c:v>
                </c:pt>
                <c:pt idx="1">
                  <c:v>157.779069</c:v>
                </c:pt>
                <c:pt idx="2">
                  <c:v>54.169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nal Moderno</c:v>
                </c:pt>
                <c:pt idx="2">
                  <c:v>Canal Tradicional</c:v>
                </c:pt>
              </c:strCache>
            </c:strRef>
          </c:cat>
          <c:val>
            <c:numRef>
              <c:f>Sheet1!$B$2:$B$4</c:f>
              <c:numCache>
                <c:formatCode>General</c:formatCode>
                <c:ptCount val="3"/>
                <c:pt idx="0">
                  <c:v>0.9973237707304932</c:v>
                </c:pt>
                <c:pt idx="1">
                  <c:v>0.9936946709395429</c:v>
                </c:pt>
                <c:pt idx="2">
                  <c:v>0.792389823444816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4089.390327</c:v>
                </c:pt>
                <c:pt idx="1">
                  <c:v>1643.5623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577.05</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C$2:$C$3</c:f>
              <c:numCache>
                <c:formatCode>General</c:formatCode>
                <c:ptCount val="2"/>
                <c:pt idx="0">
                  <c:v>2338.1733</c:v>
                </c:pt>
                <c:pt idx="1">
                  <c:v>1577.05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0.9983875302562473</c:v>
                </c:pt>
                <c:pt idx="1">
                  <c:v>0.96019409645146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4089.390327</c:v>
                </c:pt>
                <c:pt idx="1">
                  <c:v>1643.5623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577.05</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C$2:$C$3</c:f>
              <c:numCache>
                <c:formatCode>General</c:formatCode>
                <c:ptCount val="2"/>
                <c:pt idx="0">
                  <c:v>2338.1733</c:v>
                </c:pt>
                <c:pt idx="1">
                  <c:v>1577.05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0.9983875302562473</c:v>
                </c:pt>
                <c:pt idx="1">
                  <c:v>0.96019409645146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4089.390327</c:v>
                </c:pt>
                <c:pt idx="1">
                  <c:v>1643.5623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577.05</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C$2:$C$3</c:f>
              <c:numCache>
                <c:formatCode>General</c:formatCode>
                <c:ptCount val="2"/>
                <c:pt idx="0">
                  <c:v>2338.1733</c:v>
                </c:pt>
                <c:pt idx="1">
                  <c:v>1577.05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0.9983875302562473</c:v>
                </c:pt>
                <c:pt idx="1">
                  <c:v>0.96019409645146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4089.390327</c:v>
                </c:pt>
                <c:pt idx="1">
                  <c:v>1643.5623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8.17</a:t>
                    </a:r>
                  </a:p>
                </c:rich>
              </c:tx>
              <c:dLblPos val="t"/>
              <c:showLegendKey val="0"/>
              <c:showVal val="1"/>
              <c:showCatName val="0"/>
              <c:showSerName val="0"/>
              <c:showPercent val="0"/>
              <c:showBubbleSize val="0"/>
            </c:dLbl>
            <c:dLbl>
              <c:idx val="1"/>
              <c:tx>
                <c:rich>
                  <a:bodyPr/>
                  <a:lstStyle/>
                  <a:p>
                    <a:r>
                      <a:t>1577.05</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C$2:$C$3</c:f>
              <c:numCache>
                <c:formatCode>General</c:formatCode>
                <c:ptCount val="2"/>
                <c:pt idx="0">
                  <c:v>2338.1733</c:v>
                </c:pt>
                <c:pt idx="1">
                  <c:v>1577.05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0.9983875302562473</c:v>
                </c:pt>
                <c:pt idx="1">
                  <c:v>0.96019409645146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3929.252437</c:v>
                </c:pt>
                <c:pt idx="1">
                  <c:v>1567.14958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622.31</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C$2:$C$3</c:f>
              <c:numCache>
                <c:formatCode>General</c:formatCode>
                <c:ptCount val="2"/>
                <c:pt idx="0">
                  <c:v>2437.7268</c:v>
                </c:pt>
                <c:pt idx="1">
                  <c:v>1622.311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5515</c:v>
                </c:pt>
                <c:pt idx="1">
                  <c:v>0.058836</c:v>
                </c:pt>
                <c:pt idx="2">
                  <c:v>0.0206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0.9973237707304932</c:v>
                </c:pt>
                <c:pt idx="1">
                  <c:v>0.95928046675157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3929.252437</c:v>
                </c:pt>
                <c:pt idx="1">
                  <c:v>1567.14958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622.31</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C$2:$C$3</c:f>
              <c:numCache>
                <c:formatCode>General</c:formatCode>
                <c:ptCount val="2"/>
                <c:pt idx="0">
                  <c:v>2437.7268</c:v>
                </c:pt>
                <c:pt idx="1">
                  <c:v>1622.311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0.9973237707304932</c:v>
                </c:pt>
                <c:pt idx="1">
                  <c:v>0.95928046675157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3929.252437</c:v>
                </c:pt>
                <c:pt idx="1">
                  <c:v>1567.14958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622.31</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C$2:$C$3</c:f>
              <c:numCache>
                <c:formatCode>General</c:formatCode>
                <c:ptCount val="2"/>
                <c:pt idx="0">
                  <c:v>2437.7268</c:v>
                </c:pt>
                <c:pt idx="1">
                  <c:v>1622.311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0.9973237707304932</c:v>
                </c:pt>
                <c:pt idx="1">
                  <c:v>0.95928046675157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3929.252437</c:v>
                </c:pt>
                <c:pt idx="1">
                  <c:v>1567.14958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7.73</a:t>
                    </a:r>
                  </a:p>
                </c:rich>
              </c:tx>
              <c:dLblPos val="t"/>
              <c:showLegendKey val="0"/>
              <c:showVal val="1"/>
              <c:showCatName val="0"/>
              <c:showSerName val="0"/>
              <c:showPercent val="0"/>
              <c:showBubbleSize val="0"/>
            </c:dLbl>
            <c:dLbl>
              <c:idx val="1"/>
              <c:tx>
                <c:rich>
                  <a:bodyPr/>
                  <a:lstStyle/>
                  <a:p>
                    <a:r>
                      <a:t>1622.31</a:t>
                    </a:r>
                  </a:p>
                </c:rich>
              </c:tx>
              <c:dLblPos val="t"/>
              <c:showLegendKey val="0"/>
              <c:showVal val="1"/>
              <c:showCatName val="0"/>
              <c:showSerName val="0"/>
              <c:showPercent val="0"/>
              <c:showBubbleSize val="0"/>
            </c:dLbl>
            <c:dLbl>
              <c:idx val="2"/>
              <c:tx>
                <c:rich>
                  <a:bodyPr/>
                  <a:lstStyle/>
                  <a:p>
                    <a:r>
                      <a:t>19.6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C$2:$C$3</c:f>
              <c:numCache>
                <c:formatCode>General</c:formatCode>
                <c:ptCount val="2"/>
                <c:pt idx="0">
                  <c:v>2437.7268</c:v>
                </c:pt>
                <c:pt idx="1">
                  <c:v>1622.311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ational</c:v>
                </c:pt>
                <c:pt idx="1">
                  <c:v>Autos Scanning</c:v>
                </c:pt>
              </c:strCache>
            </c:strRef>
          </c:cat>
          <c:val>
            <c:numRef>
              <c:f>Sheet1!$B$2:$B$3</c:f>
              <c:numCache>
                <c:formatCode>General</c:formatCode>
                <c:ptCount val="2"/>
                <c:pt idx="0">
                  <c:v>0.9973237707304932</c:v>
                </c:pt>
                <c:pt idx="1">
                  <c:v>0.95928046675157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66.9</a:t>
                    </a:r>
                  </a:p>
                </c:rich>
              </c:tx>
              <c:showLegendKey val="0"/>
              <c:showVal val="1"/>
              <c:showCatName val="0"/>
              <c:showSerName val="0"/>
              <c:showPercent val="0"/>
              <c:showBubbleSize val="0"/>
            </c:dLbl>
            <c:dLbl>
              <c:idx val="1"/>
              <c:tx>
                <c:rich>
                  <a:bodyPr/>
                  <a:lstStyle/>
                  <a:p>
                    <a:r>
                      <a:rPr>
                        <a:solidFill>
                          <a:srgbClr val="FFFFFF"/>
                        </a:solidFill>
                      </a:rPr>
                      <a:t>56.4</a:t>
                    </a:r>
                  </a:p>
                </c:rich>
              </c:tx>
              <c:showLegendKey val="0"/>
              <c:showVal val="1"/>
              <c:showCatName val="0"/>
              <c:showSerName val="0"/>
              <c:showPercent val="0"/>
              <c:showBubbleSize val="0"/>
            </c:dLbl>
            <c:dLbl>
              <c:idx val="2"/>
              <c:tx>
                <c:rich>
                  <a:bodyPr/>
                  <a:lstStyle/>
                  <a:p>
                    <a:r>
                      <a:rPr>
                        <a:solidFill>
                          <a:srgbClr val="FFFFFF"/>
                        </a:solidFill>
                      </a:rPr>
                      <a:t>1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6.873372</c:v>
                </c:pt>
                <c:pt idx="1">
                  <c:v>56.351239</c:v>
                </c:pt>
                <c:pt idx="2">
                  <c:v>19.750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003</c:v>
                </c:pt>
                <c:pt idx="1">
                  <c:v>0.009908</c:v>
                </c:pt>
                <c:pt idx="2">
                  <c:v>0.00314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0.0</a:t>
                    </a:r>
                  </a:p>
                </c:rich>
              </c:tx>
              <c:showLegendKey val="0"/>
              <c:showVal val="1"/>
              <c:showCatName val="0"/>
              <c:showSerName val="0"/>
              <c:showPercent val="0"/>
              <c:showBubbleSize val="0"/>
            </c:dLbl>
            <c:dLbl>
              <c:idx val="1"/>
              <c:tx>
                <c:rich>
                  <a:bodyPr/>
                  <a:lstStyle/>
                  <a:p>
                    <a:r>
                      <a:rPr>
                        <a:solidFill>
                          <a:srgbClr val="FFFFFF"/>
                        </a:solidFill>
                      </a:rPr>
                      <a:t>11.4</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16764</c:v>
                </c:pt>
                <c:pt idx="1">
                  <c:v>11.367054</c:v>
                </c:pt>
                <c:pt idx="2">
                  <c:v>3.4080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484</c:v>
                </c:pt>
                <c:pt idx="1">
                  <c:v>0.010704</c:v>
                </c:pt>
                <c:pt idx="2">
                  <c:v>0.0051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1.4</a:t>
                    </a:r>
                  </a:p>
                </c:rich>
              </c:tx>
              <c:showLegendKey val="0"/>
              <c:showVal val="1"/>
              <c:showCatName val="0"/>
              <c:showSerName val="0"/>
              <c:showPercent val="0"/>
              <c:showBubbleSize val="0"/>
            </c:dLbl>
            <c:dLbl>
              <c:idx val="1"/>
              <c:tx>
                <c:rich>
                  <a:bodyPr/>
                  <a:lstStyle/>
                  <a:p>
                    <a:r>
                      <a:rPr>
                        <a:solidFill>
                          <a:srgbClr val="FFFFFF"/>
                        </a:solidFill>
                      </a:rPr>
                      <a:t>9.9</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363089</c:v>
                </c:pt>
                <c:pt idx="1">
                  <c:v>9.913866</c:v>
                </c:pt>
                <c:pt idx="2">
                  <c:v>4.7301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39226</c:v>
                </c:pt>
                <c:pt idx="1">
                  <c:v>0.498419</c:v>
                </c:pt>
                <c:pt idx="2">
                  <c:v>0.17754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6408</c:v>
                </c:pt>
                <c:pt idx="1">
                  <c:v>0.097568</c:v>
                </c:pt>
                <c:pt idx="2">
                  <c:v>0.03078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2908</c:v>
                </c:pt>
                <c:pt idx="1">
                  <c:v>0.329961</c:v>
                </c:pt>
                <c:pt idx="2">
                  <c:v>0.12336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297</c:v>
                </c:pt>
                <c:pt idx="1">
                  <c:v>0.037287</c:v>
                </c:pt>
                <c:pt idx="2">
                  <c:v>0.01209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64636</c:v>
                </c:pt>
                <c:pt idx="1">
                  <c:v>0.295369</c:v>
                </c:pt>
                <c:pt idx="2">
                  <c:v>0.10220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02</c:v>
                </c:pt>
                <c:pt idx="1">
                  <c:v>0.031411</c:v>
                </c:pt>
                <c:pt idx="2">
                  <c:v>0.01107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583</c:v>
                </c:pt>
                <c:pt idx="1">
                  <c:v>0.031852</c:v>
                </c:pt>
                <c:pt idx="2">
                  <c:v>0.01035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84</c:v>
                </c:pt>
                <c:pt idx="1">
                  <c:v>0.003501</c:v>
                </c:pt>
                <c:pt idx="2">
                  <c:v>0.00107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99562</c:v>
                </c:pt>
                <c:pt idx="1">
                  <c:v>0.490668</c:v>
                </c:pt>
                <c:pt idx="2">
                  <c:v>0.17485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2746</c:v>
                </c:pt>
                <c:pt idx="1">
                  <c:v>0.126056</c:v>
                </c:pt>
                <c:pt idx="2">
                  <c:v>0.0453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a:solidFill>
                          <a:srgbClr val="FFFFFF"/>
                        </a:solidFill>
                      </a:rPr>
                      <a:t>876.9</a:t>
                    </a:r>
                  </a:p>
                </c:rich>
              </c:tx>
              <c:showLegendKey val="0"/>
              <c:showVal val="1"/>
              <c:showCatName val="0"/>
              <c:showSerName val="0"/>
              <c:showPercent val="0"/>
              <c:showBubbleSize val="0"/>
            </c:dLbl>
            <c:dLbl>
              <c:idx val="1"/>
              <c:tx>
                <c:rich>
                  <a:bodyPr/>
                  <a:lstStyle/>
                  <a:p>
                    <a:r>
                      <a:rPr>
                        <a:solidFill>
                          <a:srgbClr val="FFFFFF"/>
                        </a:solidFill>
                      </a:rPr>
                      <a:t>839.8</a:t>
                    </a:r>
                  </a:p>
                </c:rich>
              </c:tx>
              <c:showLegendKey val="0"/>
              <c:showVal val="1"/>
              <c:showCatName val="0"/>
              <c:showSerName val="0"/>
              <c:showPercent val="0"/>
              <c:showBubbleSize val="0"/>
            </c:dLbl>
            <c:dLbl>
              <c:idx val="2"/>
              <c:tx>
                <c:rich>
                  <a:bodyPr/>
                  <a:lstStyle/>
                  <a:p>
                    <a:r>
                      <a:rPr>
                        <a:solidFill>
                          <a:srgbClr val="FFFFFF"/>
                        </a:solidFill>
                      </a:rPr>
                      <a:t>29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76.869911</c:v>
                </c:pt>
                <c:pt idx="1">
                  <c:v>839.849613</c:v>
                </c:pt>
                <c:pt idx="2">
                  <c:v>295.26124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tx>
                <c:rich>
                  <a:bodyPr/>
                  <a:lstStyle/>
                  <a:p>
                    <a:r>
                      <a:rPr>
                        <a:solidFill>
                          <a:srgbClr val="FFFFFF"/>
                        </a:solidFill>
                      </a:rPr>
                      <a:t>596.2</a:t>
                    </a:r>
                  </a:p>
                </c:rich>
              </c:tx>
              <c:showLegendKey val="0"/>
              <c:showVal val="1"/>
              <c:showCatName val="0"/>
              <c:showSerName val="0"/>
              <c:showPercent val="0"/>
              <c:showBubbleSize val="0"/>
            </c:dLbl>
            <c:dLbl>
              <c:idx val="1"/>
              <c:tx>
                <c:rich>
                  <a:bodyPr/>
                  <a:lstStyle/>
                  <a:p>
                    <a:r>
                      <a:rPr>
                        <a:solidFill>
                          <a:srgbClr val="FFFFFF"/>
                        </a:solidFill>
                      </a:rPr>
                      <a:t>636.2</a:t>
                    </a:r>
                  </a:p>
                </c:rich>
              </c:tx>
              <c:showLegendKey val="0"/>
              <c:showVal val="1"/>
              <c:showCatName val="0"/>
              <c:showSerName val="0"/>
              <c:showPercent val="0"/>
              <c:showBubbleSize val="0"/>
            </c:dLbl>
            <c:dLbl>
              <c:idx val="2"/>
              <c:tx>
                <c:rich>
                  <a:bodyPr/>
                  <a:lstStyle/>
                  <a:p>
                    <a:r>
                      <a:rPr>
                        <a:solidFill>
                          <a:srgbClr val="FFFFFF"/>
                        </a:solidFill>
                      </a:rPr>
                      <a:t>2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96.152096</c:v>
                </c:pt>
                <c:pt idx="1">
                  <c:v>636.151875</c:v>
                </c:pt>
                <c:pt idx="2">
                  <c:v>212.48828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tx>
                <c:rich>
                  <a:bodyPr/>
                  <a:lstStyle/>
                  <a:p>
                    <a:r>
                      <a:rPr>
                        <a:solidFill>
                          <a:srgbClr val="FFFFFF"/>
                        </a:solidFill>
                      </a:rPr>
                      <a:t>398.1</a:t>
                    </a:r>
                  </a:p>
                </c:rich>
              </c:tx>
              <c:showLegendKey val="0"/>
              <c:showVal val="1"/>
              <c:showCatName val="0"/>
              <c:showSerName val="0"/>
              <c:showPercent val="0"/>
              <c:showBubbleSize val="0"/>
            </c:dLbl>
            <c:dLbl>
              <c:idx val="1"/>
              <c:tx>
                <c:rich>
                  <a:bodyPr/>
                  <a:lstStyle/>
                  <a:p>
                    <a:r>
                      <a:rPr>
                        <a:solidFill>
                          <a:srgbClr val="FFFFFF"/>
                        </a:solidFill>
                      </a:rPr>
                      <a:t>384.2</a:t>
                    </a:r>
                  </a:p>
                </c:rich>
              </c:tx>
              <c:showLegendKey val="0"/>
              <c:showVal val="1"/>
              <c:showCatName val="0"/>
              <c:showSerName val="0"/>
              <c:showPercent val="0"/>
              <c:showBubbleSize val="0"/>
            </c:dLbl>
            <c:dLbl>
              <c:idx val="2"/>
              <c:tx>
                <c:rich>
                  <a:bodyPr/>
                  <a:lstStyle/>
                  <a:p>
                    <a:r>
                      <a:rPr>
                        <a:solidFill>
                          <a:srgbClr val="FFFFFF"/>
                        </a:solidFill>
                      </a:rPr>
                      <a:t>14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98.10465</c:v>
                </c:pt>
                <c:pt idx="1">
                  <c:v>384.245009</c:v>
                </c:pt>
                <c:pt idx="2">
                  <c:v>146.26200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tx>
                <c:rich>
                  <a:bodyPr/>
                  <a:lstStyle/>
                  <a:p>
                    <a:r>
                      <a:rPr>
                        <a:solidFill>
                          <a:srgbClr val="FFFFFF"/>
                        </a:solidFill>
                      </a:rPr>
                      <a:t>328.3</a:t>
                    </a:r>
                  </a:p>
                </c:rich>
              </c:tx>
              <c:showLegendKey val="0"/>
              <c:showVal val="1"/>
              <c:showCatName val="0"/>
              <c:showSerName val="0"/>
              <c:showPercent val="0"/>
              <c:showBubbleSize val="0"/>
            </c:dLbl>
            <c:dLbl>
              <c:idx val="1"/>
              <c:tx>
                <c:rich>
                  <a:bodyPr/>
                  <a:lstStyle/>
                  <a:p>
                    <a:r>
                      <a:rPr>
                        <a:solidFill>
                          <a:srgbClr val="FFFFFF"/>
                        </a:solidFill>
                      </a:rPr>
                      <a:t>400.2</a:t>
                    </a:r>
                  </a:p>
                </c:rich>
              </c:tx>
              <c:showLegendKey val="0"/>
              <c:showVal val="1"/>
              <c:showCatName val="0"/>
              <c:showSerName val="0"/>
              <c:showPercent val="0"/>
              <c:showBubbleSize val="0"/>
            </c:dLbl>
            <c:dLbl>
              <c:idx val="2"/>
              <c:tx>
                <c:rich>
                  <a:bodyPr/>
                  <a:lstStyle/>
                  <a:p>
                    <a:r>
                      <a:rPr>
                        <a:solidFill>
                          <a:srgbClr val="FFFFFF"/>
                        </a:solidFill>
                      </a:rPr>
                      <a:t>12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28.304273</c:v>
                </c:pt>
                <c:pt idx="1">
                  <c:v>400.176409</c:v>
                </c:pt>
                <c:pt idx="2">
                  <c:v>125.79445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tx>
                <c:rich>
                  <a:bodyPr/>
                  <a:lstStyle/>
                  <a:p>
                    <a:r>
                      <a:rPr>
                        <a:solidFill>
                          <a:srgbClr val="FFFFFF"/>
                        </a:solidFill>
                      </a:rPr>
                      <a:t>381.2</a:t>
                    </a:r>
                  </a:p>
                </c:rich>
              </c:tx>
              <c:showLegendKey val="0"/>
              <c:showVal val="1"/>
              <c:showCatName val="0"/>
              <c:showSerName val="0"/>
              <c:showPercent val="0"/>
              <c:showBubbleSize val="0"/>
            </c:dLbl>
            <c:dLbl>
              <c:idx val="1"/>
              <c:tx>
                <c:rich>
                  <a:bodyPr/>
                  <a:lstStyle/>
                  <a:p>
                    <a:r>
                      <a:rPr>
                        <a:solidFill>
                          <a:srgbClr val="FFFFFF"/>
                        </a:solidFill>
                      </a:rPr>
                      <a:t>338.8</a:t>
                    </a:r>
                  </a:p>
                </c:rich>
              </c:tx>
              <c:showLegendKey val="0"/>
              <c:showVal val="1"/>
              <c:showCatName val="0"/>
              <c:showSerName val="0"/>
              <c:showPercent val="0"/>
              <c:showBubbleSize val="0"/>
            </c:dLbl>
            <c:dLbl>
              <c:idx val="2"/>
              <c:tx>
                <c:rich>
                  <a:bodyPr/>
                  <a:lstStyle/>
                  <a:p>
                    <a:r>
                      <a:rPr>
                        <a:solidFill>
                          <a:srgbClr val="FFFFFF"/>
                        </a:solidFill>
                      </a:rPr>
                      <a:t>11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81.169145</c:v>
                </c:pt>
                <c:pt idx="1">
                  <c:v>338.788367</c:v>
                </c:pt>
                <c:pt idx="2">
                  <c:v>116.87706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tx>
                <c:rich>
                  <a:bodyPr/>
                  <a:lstStyle/>
                  <a:p>
                    <a:r>
                      <a:rPr>
                        <a:solidFill>
                          <a:srgbClr val="FFFFFF"/>
                        </a:solidFill>
                      </a:rPr>
                      <a:t>259.6</a:t>
                    </a:r>
                  </a:p>
                </c:rich>
              </c:tx>
              <c:showLegendKey val="0"/>
              <c:showVal val="1"/>
              <c:showCatName val="0"/>
              <c:showSerName val="0"/>
              <c:showPercent val="0"/>
              <c:showBubbleSize val="0"/>
            </c:dLbl>
            <c:dLbl>
              <c:idx val="1"/>
              <c:tx>
                <c:rich>
                  <a:bodyPr/>
                  <a:lstStyle/>
                  <a:p>
                    <a:r>
                      <a:rPr>
                        <a:solidFill>
                          <a:srgbClr val="FFFFFF"/>
                        </a:solidFill>
                      </a:rPr>
                      <a:t>285.3</a:t>
                    </a:r>
                  </a:p>
                </c:rich>
              </c:tx>
              <c:showLegendKey val="0"/>
              <c:showVal val="1"/>
              <c:showCatName val="0"/>
              <c:showSerName val="0"/>
              <c:showPercent val="0"/>
              <c:showBubbleSize val="0"/>
            </c:dLbl>
            <c:dLbl>
              <c:idx val="2"/>
              <c:tx>
                <c:rich>
                  <a:bodyPr/>
                  <a:lstStyle/>
                  <a:p>
                    <a:r>
                      <a:rPr>
                        <a:solidFill>
                          <a:srgbClr val="FFFFFF"/>
                        </a:solidFill>
                      </a:rPr>
                      <a:t>9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59.612568</c:v>
                </c:pt>
                <c:pt idx="1">
                  <c:v>285.29914</c:v>
                </c:pt>
                <c:pt idx="2">
                  <c:v>99.55868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tx>
                <c:rich>
                  <a:bodyPr/>
                  <a:lstStyle/>
                  <a:p>
                    <a:r>
                      <a:rPr>
                        <a:solidFill>
                          <a:srgbClr val="FFFFFF"/>
                        </a:solidFill>
                      </a:rPr>
                      <a:t>229.9</a:t>
                    </a:r>
                  </a:p>
                </c:rich>
              </c:tx>
              <c:showLegendKey val="0"/>
              <c:showVal val="1"/>
              <c:showCatName val="0"/>
              <c:showSerName val="0"/>
              <c:showPercent val="0"/>
              <c:showBubbleSize val="0"/>
            </c:dLbl>
            <c:dLbl>
              <c:idx val="1"/>
              <c:tx>
                <c:rich>
                  <a:bodyPr/>
                  <a:lstStyle/>
                  <a:p>
                    <a:r>
                      <a:rPr>
                        <a:solidFill>
                          <a:srgbClr val="FFFFFF"/>
                        </a:solidFill>
                      </a:rPr>
                      <a:t>262.1</a:t>
                    </a:r>
                  </a:p>
                </c:rich>
              </c:tx>
              <c:showLegendKey val="0"/>
              <c:showVal val="1"/>
              <c:showCatName val="0"/>
              <c:showSerName val="0"/>
              <c:showPercent val="0"/>
              <c:showBubbleSize val="0"/>
            </c:dLbl>
            <c:dLbl>
              <c:idx val="2"/>
              <c:tx>
                <c:rich>
                  <a:bodyPr/>
                  <a:lstStyle/>
                  <a:p>
                    <a:r>
                      <a:rPr>
                        <a:solidFill>
                          <a:srgbClr val="FFFFFF"/>
                        </a:solidFill>
                      </a:rPr>
                      <a:t>8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29.881988</c:v>
                </c:pt>
                <c:pt idx="1">
                  <c:v>262.06411</c:v>
                </c:pt>
                <c:pt idx="2">
                  <c:v>80.10625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5764</c:v>
                </c:pt>
                <c:pt idx="1">
                  <c:v>13.614799</c:v>
                </c:pt>
                <c:pt idx="2">
                  <c:v>4.1887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819.8</a:t>
                    </a:r>
                  </a:p>
                </c:rich>
              </c:tx>
              <c:showLegendKey val="0"/>
              <c:showVal val="1"/>
              <c:showCatName val="0"/>
              <c:showSerName val="0"/>
              <c:showPercent val="0"/>
              <c:showBubbleSize val="0"/>
            </c:dLbl>
            <c:dLbl>
              <c:idx val="1"/>
              <c:tx>
                <c:rich>
                  <a:bodyPr/>
                  <a:lstStyle/>
                  <a:p>
                    <a:r>
                      <a:rPr>
                        <a:solidFill>
                          <a:srgbClr val="FFFFFF"/>
                        </a:solidFill>
                      </a:rPr>
                      <a:t>1006.0</a:t>
                    </a:r>
                  </a:p>
                </c:rich>
              </c:tx>
              <c:showLegendKey val="0"/>
              <c:showVal val="1"/>
              <c:showCatName val="0"/>
              <c:showSerName val="0"/>
              <c:showPercent val="0"/>
              <c:showBubbleSize val="0"/>
            </c:dLbl>
            <c:dLbl>
              <c:idx val="2"/>
              <c:tx>
                <c:rich>
                  <a:bodyPr/>
                  <a:lstStyle/>
                  <a:p>
                    <a:r>
                      <a:rPr>
                        <a:solidFill>
                          <a:srgbClr val="FFFFFF"/>
                        </a:solidFill>
                      </a:rPr>
                      <a:t>38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819.827279</c:v>
                </c:pt>
                <c:pt idx="1">
                  <c:v>1005.954784</c:v>
                </c:pt>
                <c:pt idx="2">
                  <c:v>382.2711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a:solidFill>
                          <a:srgbClr val="FFFFFF"/>
                        </a:solidFill>
                      </a:rPr>
                      <a:t>157.2</a:t>
                    </a:r>
                  </a:p>
                </c:rich>
              </c:tx>
              <c:showLegendKey val="0"/>
              <c:showVal val="1"/>
              <c:showCatName val="0"/>
              <c:showSerName val="0"/>
              <c:showPercent val="0"/>
              <c:showBubbleSize val="0"/>
            </c:dLbl>
            <c:dLbl>
              <c:idx val="1"/>
              <c:tx>
                <c:rich>
                  <a:bodyPr/>
                  <a:lstStyle/>
                  <a:p>
                    <a:r>
                      <a:rPr>
                        <a:solidFill>
                          <a:srgbClr val="FFFFFF"/>
                        </a:solidFill>
                      </a:rPr>
                      <a:t>228.9</a:t>
                    </a:r>
                  </a:p>
                </c:rich>
              </c:tx>
              <c:showLegendKey val="0"/>
              <c:showVal val="1"/>
              <c:showCatName val="0"/>
              <c:showSerName val="0"/>
              <c:showPercent val="0"/>
              <c:showBubbleSize val="0"/>
            </c:dLbl>
            <c:dLbl>
              <c:idx val="2"/>
              <c:tx>
                <c:rich>
                  <a:bodyPr/>
                  <a:lstStyle/>
                  <a:p>
                    <a:r>
                      <a:rPr>
                        <a:solidFill>
                          <a:srgbClr val="FFFFFF"/>
                        </a:solidFill>
                      </a:rPr>
                      <a:t>8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57.16607</c:v>
                </c:pt>
                <c:pt idx="1">
                  <c:v>228.911533</c:v>
                </c:pt>
                <c:pt idx="2">
                  <c:v>88.9074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8694</c:v>
                </c:pt>
                <c:pt idx="1">
                  <c:v>0.128782</c:v>
                </c:pt>
                <c:pt idx="2">
                  <c:v>0.04726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6439</c:v>
                </c:pt>
                <c:pt idx="1">
                  <c:v>0.111575</c:v>
                </c:pt>
                <c:pt idx="2">
                  <c:v>0.0378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29</c:v>
                </c:pt>
                <c:pt idx="1">
                  <c:v>0.001856</c:v>
                </c:pt>
                <c:pt idx="2">
                  <c:v>0.00044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265.1</a:t>
                    </a:r>
                  </a:p>
                </c:rich>
              </c:tx>
              <c:showLegendKey val="0"/>
              <c:showVal val="1"/>
              <c:showCatName val="0"/>
              <c:showSerName val="0"/>
              <c:showPercent val="0"/>
              <c:showBubbleSize val="0"/>
            </c:dLbl>
            <c:dLbl>
              <c:idx val="1"/>
              <c:tx>
                <c:rich>
                  <a:bodyPr/>
                  <a:lstStyle/>
                  <a:p>
                    <a:r>
                      <a:rPr>
                        <a:solidFill>
                          <a:srgbClr val="FFFFFF"/>
                        </a:solidFill>
                      </a:rPr>
                      <a:t>250.3</a:t>
                    </a:r>
                  </a:p>
                </c:rich>
              </c:tx>
              <c:showLegendKey val="0"/>
              <c:showVal val="1"/>
              <c:showCatName val="0"/>
              <c:showSerName val="0"/>
              <c:showPercent val="0"/>
              <c:showBubbleSize val="0"/>
            </c:dLbl>
            <c:dLbl>
              <c:idx val="2"/>
              <c:tx>
                <c:rich>
                  <a:bodyPr/>
                  <a:lstStyle/>
                  <a:p>
                    <a:r>
                      <a:rPr>
                        <a:solidFill>
                          <a:srgbClr val="FFFFFF"/>
                        </a:solidFill>
                      </a:rPr>
                      <a:t>8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65.12011</c:v>
                </c:pt>
                <c:pt idx="1">
                  <c:v>250.340376</c:v>
                </c:pt>
                <c:pt idx="2">
                  <c:v>87.7939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a:solidFill>
                          <a:srgbClr val="FFFFFF"/>
                        </a:solidFill>
                      </a:rPr>
                      <a:t>133.3</a:t>
                    </a:r>
                  </a:p>
                </c:rich>
              </c:tx>
              <c:showLegendKey val="0"/>
              <c:showVal val="1"/>
              <c:showCatName val="0"/>
              <c:showSerName val="0"/>
              <c:showPercent val="0"/>
              <c:showBubbleSize val="0"/>
            </c:dLbl>
            <c:dLbl>
              <c:idx val="1"/>
              <c:tx>
                <c:rich>
                  <a:bodyPr/>
                  <a:lstStyle/>
                  <a:p>
                    <a:r>
                      <a:rPr>
                        <a:solidFill>
                          <a:srgbClr val="FFFFFF"/>
                        </a:solidFill>
                      </a:rPr>
                      <a:t>133.7</a:t>
                    </a:r>
                  </a:p>
                </c:rich>
              </c:tx>
              <c:showLegendKey val="0"/>
              <c:showVal val="1"/>
              <c:showCatName val="0"/>
              <c:showSerName val="0"/>
              <c:showPercent val="0"/>
              <c:showBubbleSize val="0"/>
            </c:dLbl>
            <c:dLbl>
              <c:idx val="2"/>
              <c:tx>
                <c:rich>
                  <a:bodyPr/>
                  <a:lstStyle/>
                  <a:p>
                    <a:r>
                      <a:rPr>
                        <a:solidFill>
                          <a:srgbClr val="FFFFFF"/>
                        </a:solidFill>
                      </a:rPr>
                      <a:t>49.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3.270153</c:v>
                </c:pt>
                <c:pt idx="1">
                  <c:v>133.66927</c:v>
                </c:pt>
                <c:pt idx="2">
                  <c:v>49.24495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130.9</a:t>
                    </a:r>
                  </a:p>
                </c:rich>
              </c:tx>
              <c:showLegendKey val="0"/>
              <c:showVal val="1"/>
              <c:showCatName val="0"/>
              <c:showSerName val="0"/>
              <c:showPercent val="0"/>
              <c:showBubbleSize val="0"/>
            </c:dLbl>
            <c:dLbl>
              <c:idx val="1"/>
              <c:tx>
                <c:rich>
                  <a:bodyPr/>
                  <a:lstStyle/>
                  <a:p>
                    <a:r>
                      <a:rPr>
                        <a:solidFill>
                          <a:srgbClr val="FFFFFF"/>
                        </a:solidFill>
                      </a:rPr>
                      <a:t>109.4</a:t>
                    </a:r>
                  </a:p>
                </c:rich>
              </c:tx>
              <c:showLegendKey val="0"/>
              <c:showVal val="1"/>
              <c:showCatName val="0"/>
              <c:showSerName val="0"/>
              <c:showPercent val="0"/>
              <c:showBubbleSize val="0"/>
            </c:dLbl>
            <c:dLbl>
              <c:idx val="2"/>
              <c:tx>
                <c:rich>
                  <a:bodyPr/>
                  <a:lstStyle/>
                  <a:p>
                    <a:r>
                      <a:rPr>
                        <a:solidFill>
                          <a:srgbClr val="FFFFFF"/>
                        </a:solidFill>
                      </a:rPr>
                      <a:t>3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0.933928</c:v>
                </c:pt>
                <c:pt idx="1">
                  <c:v>109.392945</c:v>
                </c:pt>
                <c:pt idx="2">
                  <c:v>36.47712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7.3</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16029</c:v>
                </c:pt>
                <c:pt idx="1">
                  <c:v>7.278161</c:v>
                </c:pt>
                <c:pt idx="2">
                  <c:v>2.07186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5932</c:v>
                </c:pt>
                <c:pt idx="1">
                  <c:v>0.455299</c:v>
                </c:pt>
                <c:pt idx="2">
                  <c:v>0.1623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401</c:v>
                </c:pt>
                <c:pt idx="1">
                  <c:v>0.088258</c:v>
                </c:pt>
                <c:pt idx="2">
                  <c:v>0.02813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49797</c:v>
                </c:pt>
                <c:pt idx="1">
                  <c:v>0.31671</c:v>
                </c:pt>
                <c:pt idx="2">
                  <c:v>0.1191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anana Boat</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42816</c:v>
                </c:pt>
                <c:pt idx="1">
                  <c:v>0.280219</c:v>
                </c:pt>
                <c:pt idx="2">
                  <c:v>0.09665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 Roche-Posa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9347</c:v>
                </c:pt>
                <c:pt idx="1">
                  <c:v>0.032809</c:v>
                </c:pt>
                <c:pt idx="2">
                  <c:v>0.01102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6033</c:v>
                </c:pt>
                <c:pt idx="1">
                  <c:v>0.028238</c:v>
                </c:pt>
                <c:pt idx="2">
                  <c:v>0.00999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068</c:v>
                </c:pt>
                <c:pt idx="1">
                  <c:v>0.027907</c:v>
                </c:pt>
                <c:pt idx="2">
                  <c:v>0.00909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14</c:v>
                </c:pt>
                <c:pt idx="1">
                  <c:v>0.003308</c:v>
                </c:pt>
                <c:pt idx="2">
                  <c:v>0.0009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23852</c:v>
                </c:pt>
                <c:pt idx="1">
                  <c:v>0.39997</c:v>
                </c:pt>
                <c:pt idx="2">
                  <c:v>0.14391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7811</c:v>
                </c:pt>
                <c:pt idx="1">
                  <c:v>0.075157</c:v>
                </c:pt>
                <c:pt idx="2">
                  <c:v>0.0264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a:solidFill>
                          <a:srgbClr val="FFFFFF"/>
                        </a:solidFill>
                      </a:rPr>
                      <a:t>811.3</a:t>
                    </a:r>
                  </a:p>
                </c:rich>
              </c:tx>
              <c:showLegendKey val="0"/>
              <c:showVal val="1"/>
              <c:showCatName val="0"/>
              <c:showSerName val="0"/>
              <c:showPercent val="0"/>
              <c:showBubbleSize val="0"/>
            </c:dLbl>
            <c:dLbl>
              <c:idx val="1"/>
              <c:tx>
                <c:rich>
                  <a:bodyPr/>
                  <a:lstStyle/>
                  <a:p>
                    <a:r>
                      <a:rPr>
                        <a:solidFill>
                          <a:srgbClr val="FFFFFF"/>
                        </a:solidFill>
                      </a:rPr>
                      <a:t>772.4</a:t>
                    </a:r>
                  </a:p>
                </c:rich>
              </c:tx>
              <c:showLegendKey val="0"/>
              <c:showVal val="1"/>
              <c:showCatName val="0"/>
              <c:showSerName val="0"/>
              <c:showPercent val="0"/>
              <c:showBubbleSize val="0"/>
            </c:dLbl>
            <c:dLbl>
              <c:idx val="2"/>
              <c:tx>
                <c:rich>
                  <a:bodyPr/>
                  <a:lstStyle/>
                  <a:p>
                    <a:r>
                      <a:rPr>
                        <a:solidFill>
                          <a:srgbClr val="FFFFFF"/>
                        </a:solidFill>
                      </a:rPr>
                      <a:t>27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11.309973</c:v>
                </c:pt>
                <c:pt idx="1">
                  <c:v>772.3749</c:v>
                </c:pt>
                <c:pt idx="2">
                  <c:v>270.4293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tx>
                <c:rich>
                  <a:bodyPr/>
                  <a:lstStyle/>
                  <a:p>
                    <a:r>
                      <a:rPr>
                        <a:solidFill>
                          <a:srgbClr val="FFFFFF"/>
                        </a:solidFill>
                      </a:rPr>
                      <a:t>537.1</a:t>
                    </a:r>
                  </a:p>
                </c:rich>
              </c:tx>
              <c:showLegendKey val="0"/>
              <c:showVal val="1"/>
              <c:showCatName val="0"/>
              <c:showSerName val="0"/>
              <c:showPercent val="0"/>
              <c:showBubbleSize val="0"/>
            </c:dLbl>
            <c:dLbl>
              <c:idx val="1"/>
              <c:tx>
                <c:rich>
                  <a:bodyPr/>
                  <a:lstStyle/>
                  <a:p>
                    <a:r>
                      <a:rPr>
                        <a:solidFill>
                          <a:srgbClr val="FFFFFF"/>
                        </a:solidFill>
                      </a:rPr>
                      <a:t>564.5</a:t>
                    </a:r>
                  </a:p>
                </c:rich>
              </c:tx>
              <c:showLegendKey val="0"/>
              <c:showVal val="1"/>
              <c:showCatName val="0"/>
              <c:showSerName val="0"/>
              <c:showPercent val="0"/>
              <c:showBubbleSize val="0"/>
            </c:dLbl>
            <c:dLbl>
              <c:idx val="2"/>
              <c:tx>
                <c:rich>
                  <a:bodyPr/>
                  <a:lstStyle/>
                  <a:p>
                    <a:r>
                      <a:rPr>
                        <a:solidFill>
                          <a:srgbClr val="FFFFFF"/>
                        </a:solidFill>
                      </a:rPr>
                      <a:t>19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37.053378</c:v>
                </c:pt>
                <c:pt idx="1">
                  <c:v>564.465043</c:v>
                </c:pt>
                <c:pt idx="2">
                  <c:v>190.28730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tx>
                <c:rich>
                  <a:bodyPr/>
                  <a:lstStyle/>
                  <a:p>
                    <a:r>
                      <a:rPr>
                        <a:solidFill>
                          <a:srgbClr val="FFFFFF"/>
                        </a:solidFill>
                      </a:rPr>
                      <a:t>384.9</a:t>
                    </a:r>
                  </a:p>
                </c:rich>
              </c:tx>
              <c:showLegendKey val="0"/>
              <c:showVal val="1"/>
              <c:showCatName val="0"/>
              <c:showSerName val="0"/>
              <c:showPercent val="0"/>
              <c:showBubbleSize val="0"/>
            </c:dLbl>
            <c:dLbl>
              <c:idx val="1"/>
              <c:tx>
                <c:rich>
                  <a:bodyPr/>
                  <a:lstStyle/>
                  <a:p>
                    <a:r>
                      <a:rPr>
                        <a:solidFill>
                          <a:srgbClr val="FFFFFF"/>
                        </a:solidFill>
                      </a:rPr>
                      <a:t>372.7</a:t>
                    </a:r>
                  </a:p>
                </c:rich>
              </c:tx>
              <c:showLegendKey val="0"/>
              <c:showVal val="1"/>
              <c:showCatName val="0"/>
              <c:showSerName val="0"/>
              <c:showPercent val="0"/>
              <c:showBubbleSize val="0"/>
            </c:dLbl>
            <c:dLbl>
              <c:idx val="2"/>
              <c:tx>
                <c:rich>
                  <a:bodyPr/>
                  <a:lstStyle/>
                  <a:p>
                    <a:r>
                      <a:rPr>
                        <a:solidFill>
                          <a:srgbClr val="FFFFFF"/>
                        </a:solidFill>
                      </a:rPr>
                      <a:t>14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84.883016</c:v>
                </c:pt>
                <c:pt idx="1">
                  <c:v>372.664633</c:v>
                </c:pt>
                <c:pt idx="2">
                  <c:v>142.1618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anana Boat</c:v>
                </c:pt>
              </c:strCache>
            </c:strRef>
          </c:tx>
          <c:spPr>
            <a:solidFill>
              <a:srgbClr val="7ECAC4"/>
            </a:solidFill>
            <a:ln>
              <a:solidFill>
                <a:schemeClr val="bg1"/>
              </a:solidFill>
            </a:ln>
            <a:effectLst/>
          </c:spPr>
          <c:invertIfNegative val="0"/>
          <c:dLbls>
            <c:dLbl>
              <c:idx val="0"/>
              <c:tx>
                <c:rich>
                  <a:bodyPr/>
                  <a:lstStyle/>
                  <a:p>
                    <a:r>
                      <a:rPr>
                        <a:solidFill>
                          <a:srgbClr val="FFFFFF"/>
                        </a:solidFill>
                      </a:rPr>
                      <a:t>360.0</a:t>
                    </a:r>
                  </a:p>
                </c:rich>
              </c:tx>
              <c:showLegendKey val="0"/>
              <c:showVal val="1"/>
              <c:showCatName val="0"/>
              <c:showSerName val="0"/>
              <c:showPercent val="0"/>
              <c:showBubbleSize val="0"/>
            </c:dLbl>
            <c:dLbl>
              <c:idx val="1"/>
              <c:tx>
                <c:rich>
                  <a:bodyPr/>
                  <a:lstStyle/>
                  <a:p>
                    <a:r>
                      <a:rPr>
                        <a:solidFill>
                          <a:srgbClr val="FFFFFF"/>
                        </a:solidFill>
                      </a:rPr>
                      <a:t>324.2</a:t>
                    </a:r>
                  </a:p>
                </c:rich>
              </c:tx>
              <c:showLegendKey val="0"/>
              <c:showVal val="1"/>
              <c:showCatName val="0"/>
              <c:showSerName val="0"/>
              <c:showPercent val="0"/>
              <c:showBubbleSize val="0"/>
            </c:dLbl>
            <c:dLbl>
              <c:idx val="2"/>
              <c:tx>
                <c:rich>
                  <a:bodyPr/>
                  <a:lstStyle/>
                  <a:p>
                    <a:r>
                      <a:rPr>
                        <a:solidFill>
                          <a:srgbClr val="FFFFFF"/>
                        </a:solidFill>
                      </a:rPr>
                      <a:t>11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60.024596</c:v>
                </c:pt>
                <c:pt idx="1">
                  <c:v>324.238846</c:v>
                </c:pt>
                <c:pt idx="2">
                  <c:v>111.72759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 Roche-Posay</c:v>
                </c:pt>
              </c:strCache>
            </c:strRef>
          </c:tx>
          <c:spPr>
            <a:solidFill>
              <a:srgbClr val="575555"/>
            </a:solidFill>
            <a:ln>
              <a:solidFill>
                <a:schemeClr val="bg1"/>
              </a:solidFill>
            </a:ln>
            <a:effectLst/>
          </c:spPr>
          <c:invertIfNegative val="0"/>
          <c:dLbls>
            <c:dLbl>
              <c:idx val="0"/>
              <c:tx>
                <c:rich>
                  <a:bodyPr/>
                  <a:lstStyle/>
                  <a:p>
                    <a:r>
                      <a:rPr>
                        <a:solidFill>
                          <a:srgbClr val="FFFFFF"/>
                        </a:solidFill>
                      </a:rPr>
                      <a:t>303.5</a:t>
                    </a:r>
                  </a:p>
                </c:rich>
              </c:tx>
              <c:showLegendKey val="0"/>
              <c:showVal val="1"/>
              <c:showCatName val="0"/>
              <c:showSerName val="0"/>
              <c:showPercent val="0"/>
              <c:showBubbleSize val="0"/>
            </c:dLbl>
            <c:dLbl>
              <c:idx val="1"/>
              <c:tx>
                <c:rich>
                  <a:bodyPr/>
                  <a:lstStyle/>
                  <a:p>
                    <a:r>
                      <a:rPr>
                        <a:solidFill>
                          <a:srgbClr val="FFFFFF"/>
                        </a:solidFill>
                      </a:rPr>
                      <a:t>366.3</a:t>
                    </a:r>
                  </a:p>
                </c:rich>
              </c:tx>
              <c:showLegendKey val="0"/>
              <c:showVal val="1"/>
              <c:showCatName val="0"/>
              <c:showSerName val="0"/>
              <c:showPercent val="0"/>
              <c:showBubbleSize val="0"/>
            </c:dLbl>
            <c:dLbl>
              <c:idx val="2"/>
              <c:tx>
                <c:rich>
                  <a:bodyPr/>
                  <a:lstStyle/>
                  <a:p>
                    <a:r>
                      <a:rPr>
                        <a:solidFill>
                          <a:srgbClr val="FFFFFF"/>
                        </a:solidFill>
                      </a:rPr>
                      <a:t>11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03.486479</c:v>
                </c:pt>
                <c:pt idx="1">
                  <c:v>366.254</c:v>
                </c:pt>
                <c:pt idx="2">
                  <c:v>117.31908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tx>
                <c:rich>
                  <a:bodyPr/>
                  <a:lstStyle/>
                  <a:p>
                    <a:r>
                      <a:rPr>
                        <a:solidFill>
                          <a:srgbClr val="FFFFFF"/>
                        </a:solidFill>
                      </a:rPr>
                      <a:t>231.0</a:t>
                    </a:r>
                  </a:p>
                </c:rich>
              </c:tx>
              <c:showLegendKey val="0"/>
              <c:showVal val="1"/>
              <c:showCatName val="0"/>
              <c:showSerName val="0"/>
              <c:showPercent val="0"/>
              <c:showBubbleSize val="0"/>
            </c:dLbl>
            <c:dLbl>
              <c:idx val="1"/>
              <c:tx>
                <c:rich>
                  <a:bodyPr/>
                  <a:lstStyle/>
                  <a:p>
                    <a:r>
                      <a:rPr>
                        <a:solidFill>
                          <a:srgbClr val="FFFFFF"/>
                        </a:solidFill>
                      </a:rPr>
                      <a:t>262.1</a:t>
                    </a:r>
                  </a:p>
                </c:rich>
              </c:tx>
              <c:showLegendKey val="0"/>
              <c:showVal val="1"/>
              <c:showCatName val="0"/>
              <c:showSerName val="0"/>
              <c:showPercent val="0"/>
              <c:showBubbleSize val="0"/>
            </c:dLbl>
            <c:dLbl>
              <c:idx val="2"/>
              <c:tx>
                <c:rich>
                  <a:bodyPr/>
                  <a:lstStyle/>
                  <a:p>
                    <a:r>
                      <a:rPr>
                        <a:solidFill>
                          <a:srgbClr val="FFFFFF"/>
                        </a:solidFill>
                      </a:rPr>
                      <a:t>9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30.970471</c:v>
                </c:pt>
                <c:pt idx="1">
                  <c:v>262.138259</c:v>
                </c:pt>
                <c:pt idx="2">
                  <c:v>91.68961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tx>
                <c:rich>
                  <a:bodyPr/>
                  <a:lstStyle/>
                  <a:p>
                    <a:r>
                      <a:rPr>
                        <a:solidFill>
                          <a:srgbClr val="FFFFFF"/>
                        </a:solidFill>
                      </a:rPr>
                      <a:t>210.8</a:t>
                    </a:r>
                  </a:p>
                </c:rich>
              </c:tx>
              <c:showLegendKey val="0"/>
              <c:showVal val="1"/>
              <c:showCatName val="0"/>
              <c:showSerName val="0"/>
              <c:showPercent val="0"/>
              <c:showBubbleSize val="0"/>
            </c:dLbl>
            <c:dLbl>
              <c:idx val="1"/>
              <c:tx>
                <c:rich>
                  <a:bodyPr/>
                  <a:lstStyle/>
                  <a:p>
                    <a:r>
                      <a:rPr>
                        <a:solidFill>
                          <a:srgbClr val="FFFFFF"/>
                        </a:solidFill>
                      </a:rPr>
                      <a:t>234.1</a:t>
                    </a:r>
                  </a:p>
                </c:rich>
              </c:tx>
              <c:showLegendKey val="0"/>
              <c:showVal val="1"/>
              <c:showCatName val="0"/>
              <c:showSerName val="0"/>
              <c:showPercent val="0"/>
              <c:showBubbleSize val="0"/>
            </c:dLbl>
            <c:dLbl>
              <c:idx val="2"/>
              <c:tx>
                <c:rich>
                  <a:bodyPr/>
                  <a:lstStyle/>
                  <a:p>
                    <a:r>
                      <a:rPr>
                        <a:solidFill>
                          <a:srgbClr val="FFFFFF"/>
                        </a:solidFill>
                      </a:rPr>
                      <a:t>6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10.828036</c:v>
                </c:pt>
                <c:pt idx="1">
                  <c:v>234.101984</c:v>
                </c:pt>
                <c:pt idx="2">
                  <c:v>68.91030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530003</c:v>
                </c:pt>
                <c:pt idx="1">
                  <c:v>13.606246</c:v>
                </c:pt>
                <c:pt idx="2">
                  <c:v>4.03917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725.0</a:t>
                    </a:r>
                  </a:p>
                </c:rich>
              </c:tx>
              <c:showLegendKey val="0"/>
              <c:showVal val="1"/>
              <c:showCatName val="0"/>
              <c:showSerName val="0"/>
              <c:showPercent val="0"/>
              <c:showBubbleSize val="0"/>
            </c:dLbl>
            <c:dLbl>
              <c:idx val="1"/>
              <c:tx>
                <c:rich>
                  <a:bodyPr/>
                  <a:lstStyle/>
                  <a:p>
                    <a:r>
                      <a:rPr>
                        <a:solidFill>
                          <a:srgbClr val="FFFFFF"/>
                        </a:solidFill>
                      </a:rPr>
                      <a:t>896.5</a:t>
                    </a:r>
                  </a:p>
                </c:rich>
              </c:tx>
              <c:showLegendKey val="0"/>
              <c:showVal val="1"/>
              <c:showCatName val="0"/>
              <c:showSerName val="0"/>
              <c:showPercent val="0"/>
              <c:showBubbleSize val="0"/>
            </c:dLbl>
            <c:dLbl>
              <c:idx val="2"/>
              <c:tx>
                <c:rich>
                  <a:bodyPr/>
                  <a:lstStyle/>
                  <a:p>
                    <a:r>
                      <a:rPr>
                        <a:solidFill>
                          <a:srgbClr val="FFFFFF"/>
                        </a:solidFill>
                      </a:rPr>
                      <a:t>33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24.967919</c:v>
                </c:pt>
                <c:pt idx="1">
                  <c:v>896.542932</c:v>
                </c:pt>
                <c:pt idx="2">
                  <c:v>338.47602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a:solidFill>
                          <a:srgbClr val="FFFFFF"/>
                        </a:solidFill>
                      </a:rPr>
                      <a:t>113.0</a:t>
                    </a:r>
                  </a:p>
                </c:rich>
              </c:tx>
              <c:showLegendKey val="0"/>
              <c:showVal val="1"/>
              <c:showCatName val="0"/>
              <c:showSerName val="0"/>
              <c:showPercent val="0"/>
              <c:showBubbleSize val="0"/>
            </c:dLbl>
            <c:dLbl>
              <c:idx val="1"/>
              <c:tx>
                <c:rich>
                  <a:bodyPr/>
                  <a:lstStyle/>
                  <a:p>
                    <a:r>
                      <a:rPr>
                        <a:solidFill>
                          <a:srgbClr val="FFFFFF"/>
                        </a:solidFill>
                      </a:rPr>
                      <a:t>168.2</a:t>
                    </a:r>
                  </a:p>
                </c:rich>
              </c:tx>
              <c:showLegendKey val="0"/>
              <c:showVal val="1"/>
              <c:showCatName val="0"/>
              <c:showSerName val="0"/>
              <c:showPercent val="0"/>
              <c:showBubbleSize val="0"/>
            </c:dLbl>
            <c:dLbl>
              <c:idx val="2"/>
              <c:tx>
                <c:rich>
                  <a:bodyPr/>
                  <a:lstStyle/>
                  <a:p>
                    <a:r>
                      <a:rPr>
                        <a:solidFill>
                          <a:srgbClr val="FFFFFF"/>
                        </a:solidFill>
                      </a:rPr>
                      <a:t>6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13.011602</c:v>
                </c:pt>
                <c:pt idx="1">
                  <c:v>168.239743</c:v>
                </c:pt>
                <c:pt idx="2">
                  <c:v>64.96461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8</c:v>
                </c:pt>
                <c:pt idx="1">
                  <c:v>0.005816</c:v>
                </c:pt>
                <c:pt idx="2">
                  <c:v>0.0012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442</c:v>
                </c:pt>
                <c:pt idx="1">
                  <c:v>0.001892</c:v>
                </c:pt>
                <c:pt idx="2">
                  <c:v>0.0001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uve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848</c:v>
                </c:pt>
                <c:pt idx="1">
                  <c:v>0.001607</c:v>
                </c:pt>
                <c:pt idx="2">
                  <c:v>0.0002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ribbean Beach</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648</c:v>
                </c:pt>
                <c:pt idx="1">
                  <c:v>0.002229</c:v>
                </c:pt>
                <c:pt idx="2">
                  <c:v>0.00033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374</c:v>
                </c:pt>
                <c:pt idx="1">
                  <c:v>0.000428</c:v>
                </c:pt>
                <c:pt idx="2">
                  <c:v>0.0001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awaiian Tropic</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466</c:v>
                </c:pt>
                <c:pt idx="1">
                  <c:v>0.001466</c:v>
                </c:pt>
                <c:pt idx="2">
                  <c:v>0.00041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ucer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2</c:v>
                </c:pt>
                <c:pt idx="1">
                  <c:v>0.0</c:v>
                </c:pt>
                <c:pt idx="2">
                  <c:v>6e-0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8e-05</c:v>
                </c:pt>
                <c:pt idx="1">
                  <c:v>3e-06</c:v>
                </c:pt>
                <c:pt idx="2">
                  <c:v>0.0</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5945</c:v>
                </c:pt>
                <c:pt idx="1">
                  <c:v>0.008145</c:v>
                </c:pt>
                <c:pt idx="2">
                  <c:v>0.0028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a:solidFill>
                          <a:srgbClr val="FFFFFF"/>
                        </a:solidFill>
                      </a:rPr>
                      <a:t>10.7</a:t>
                    </a:r>
                  </a:p>
                </c:rich>
              </c:tx>
              <c:showLegendKey val="0"/>
              <c:showVal val="1"/>
              <c:showCatName val="0"/>
              <c:showSerName val="0"/>
              <c:showPercent val="0"/>
              <c:showBubbleSize val="0"/>
            </c:dLbl>
            <c:dLbl>
              <c:idx val="1"/>
              <c:tx>
                <c:rich>
                  <a:bodyPr/>
                  <a:lstStyle/>
                  <a:p>
                    <a:r>
                      <a:rPr>
                        <a:solidFill>
                          <a:srgbClr val="FFFFFF"/>
                        </a:solidFill>
                      </a:rPr>
                      <a:t>9.5</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704421</c:v>
                </c:pt>
                <c:pt idx="1">
                  <c:v>9.477099</c:v>
                </c:pt>
                <c:pt idx="2">
                  <c:v>2.1718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6.3</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298002</c:v>
                </c:pt>
                <c:pt idx="1">
                  <c:v>2.172986</c:v>
                </c:pt>
                <c:pt idx="2">
                  <c:v>0.22672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uvel</c:v>
                </c:pt>
              </c:strCache>
            </c:strRef>
          </c:tx>
          <c:spPr>
            <a:solidFill>
              <a:srgbClr val="9B9898"/>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348921</c:v>
                </c:pt>
                <c:pt idx="1">
                  <c:v>1.343348</c:v>
                </c:pt>
                <c:pt idx="2">
                  <c:v>0.1634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ribbean Beach</c:v>
                </c:pt>
              </c:strCache>
            </c:strRef>
          </c:tx>
          <c:spPr>
            <a:solidFill>
              <a:srgbClr val="7F7F7F"/>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70695</c:v>
                </c:pt>
                <c:pt idx="1">
                  <c:v>1.393808</c:v>
                </c:pt>
                <c:pt idx="2">
                  <c:v>0.23919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92058</c:v>
                </c:pt>
                <c:pt idx="1">
                  <c:v>1.828028</c:v>
                </c:pt>
                <c:pt idx="2">
                  <c:v>1.09209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awaiian Tropic</c:v>
                </c:pt>
              </c:strCache>
            </c:strRef>
          </c:tx>
          <c:spPr>
            <a:solidFill>
              <a:srgbClr val="B2DFDC"/>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965055</c:v>
                </c:pt>
                <c:pt idx="1">
                  <c:v>1.240447</c:v>
                </c:pt>
                <c:pt idx="2">
                  <c:v>0.4535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ucerin</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554317</c:v>
                </c:pt>
                <c:pt idx="1">
                  <c:v>0.0</c:v>
                </c:pt>
                <c:pt idx="2">
                  <c:v>0.02164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435</c:v>
                </c:pt>
                <c:pt idx="1">
                  <c:v>0.005147</c:v>
                </c:pt>
                <c:pt idx="2">
                  <c:v>0.0</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7.6</a:t>
                    </a:r>
                  </a:p>
                </c:rich>
              </c:tx>
              <c:showLegendKey val="0"/>
              <c:showVal val="1"/>
              <c:showCatName val="0"/>
              <c:showSerName val="0"/>
              <c:showPercent val="0"/>
              <c:showBubbleSize val="0"/>
            </c:dLbl>
            <c:dLbl>
              <c:idx val="1"/>
              <c:tx>
                <c:rich>
                  <a:bodyPr/>
                  <a:lstStyle/>
                  <a:p>
                    <a:r>
                      <a:rPr>
                        <a:solidFill>
                          <a:srgbClr val="FFFFFF"/>
                        </a:solidFill>
                      </a:rPr>
                      <a:t>9.2</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572272</c:v>
                </c:pt>
                <c:pt idx="1">
                  <c:v>9.153111</c:v>
                </c:pt>
                <c:pt idx="2">
                  <c:v>3.00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5919</c:v>
                </c:pt>
                <c:pt idx="1">
                  <c:v>0.359031</c:v>
                </c:pt>
                <c:pt idx="2">
                  <c:v>0.1272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4691</c:v>
                </c:pt>
                <c:pt idx="1">
                  <c:v>0.235095</c:v>
                </c:pt>
                <c:pt idx="2">
                  <c:v>0.08445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anana Boat</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9174</c:v>
                </c:pt>
                <c:pt idx="1">
                  <c:v>0.196779</c:v>
                </c:pt>
                <c:pt idx="2">
                  <c:v>0.06596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Isdi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85</c:v>
                </c:pt>
                <c:pt idx="1">
                  <c:v>0.017064</c:v>
                </c:pt>
                <c:pt idx="2">
                  <c:v>0.00509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Neutrogen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1756</c:v>
                </c:pt>
                <c:pt idx="1">
                  <c:v>0.031878</c:v>
                </c:pt>
                <c:pt idx="2">
                  <c:v>0.0109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ribbean Beach</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02882</c:v>
                </c:pt>
                <c:pt idx="1">
                  <c:v>0.1137</c:v>
                </c:pt>
                <c:pt idx="2">
                  <c:v>0.03417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 Roche-Posa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581</c:v>
                </c:pt>
                <c:pt idx="1">
                  <c:v>0.005055</c:v>
                </c:pt>
                <c:pt idx="2">
                  <c:v>0.00170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429</c:v>
                </c:pt>
                <c:pt idx="1">
                  <c:v>0.003269</c:v>
                </c:pt>
                <c:pt idx="2">
                  <c:v>0.00097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7115</c:v>
                </c:pt>
                <c:pt idx="1">
                  <c:v>0.138546</c:v>
                </c:pt>
                <c:pt idx="2">
                  <c:v>0.05608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6405</c:v>
                </c:pt>
                <c:pt idx="1">
                  <c:v>0.051622</c:v>
                </c:pt>
                <c:pt idx="2">
                  <c:v>0.0154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a:solidFill>
                          <a:srgbClr val="FFFFFF"/>
                        </a:solidFill>
                      </a:rPr>
                      <a:t>606.7</a:t>
                    </a:r>
                  </a:p>
                </c:rich>
              </c:tx>
              <c:showLegendKey val="0"/>
              <c:showVal val="1"/>
              <c:showCatName val="0"/>
              <c:showSerName val="0"/>
              <c:showPercent val="0"/>
              <c:showBubbleSize val="0"/>
            </c:dLbl>
            <c:dLbl>
              <c:idx val="1"/>
              <c:tx>
                <c:rich>
                  <a:bodyPr/>
                  <a:lstStyle/>
                  <a:p>
                    <a:r>
                      <a:rPr>
                        <a:solidFill>
                          <a:srgbClr val="FFFFFF"/>
                        </a:solidFill>
                      </a:rPr>
                      <a:t>576.4</a:t>
                    </a:r>
                  </a:p>
                </c:rich>
              </c:tx>
              <c:showLegendKey val="0"/>
              <c:showVal val="1"/>
              <c:showCatName val="0"/>
              <c:showSerName val="0"/>
              <c:showPercent val="0"/>
              <c:showBubbleSize val="0"/>
            </c:dLbl>
            <c:dLbl>
              <c:idx val="2"/>
              <c:tx>
                <c:rich>
                  <a:bodyPr/>
                  <a:lstStyle/>
                  <a:p>
                    <a:r>
                      <a:rPr>
                        <a:solidFill>
                          <a:srgbClr val="FFFFFF"/>
                        </a:solidFill>
                      </a:rPr>
                      <a:t>19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06.710112</c:v>
                </c:pt>
                <c:pt idx="1">
                  <c:v>576.422578</c:v>
                </c:pt>
                <c:pt idx="2">
                  <c:v>196.9136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tx>
                <c:rich>
                  <a:bodyPr/>
                  <a:lstStyle/>
                  <a:p>
                    <a:r>
                      <a:rPr>
                        <a:solidFill>
                          <a:srgbClr val="FFFFFF"/>
                        </a:solidFill>
                      </a:rPr>
                      <a:t>287.6</a:t>
                    </a:r>
                  </a:p>
                </c:rich>
              </c:tx>
              <c:showLegendKey val="0"/>
              <c:showVal val="1"/>
              <c:showCatName val="0"/>
              <c:showSerName val="0"/>
              <c:showPercent val="0"/>
              <c:showBubbleSize val="0"/>
            </c:dLbl>
            <c:dLbl>
              <c:idx val="1"/>
              <c:tx>
                <c:rich>
                  <a:bodyPr/>
                  <a:lstStyle/>
                  <a:p>
                    <a:r>
                      <a:rPr>
                        <a:solidFill>
                          <a:srgbClr val="FFFFFF"/>
                        </a:solidFill>
                      </a:rPr>
                      <a:t>272.0</a:t>
                    </a:r>
                  </a:p>
                </c:rich>
              </c:tx>
              <c:showLegendKey val="0"/>
              <c:showVal val="1"/>
              <c:showCatName val="0"/>
              <c:showSerName val="0"/>
              <c:showPercent val="0"/>
              <c:showBubbleSize val="0"/>
            </c:dLbl>
            <c:dLbl>
              <c:idx val="2"/>
              <c:tx>
                <c:rich>
                  <a:bodyPr/>
                  <a:lstStyle/>
                  <a:p>
                    <a:r>
                      <a:rPr>
                        <a:solidFill>
                          <a:srgbClr val="FFFFFF"/>
                        </a:solidFill>
                      </a:rPr>
                      <a:t>10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87.576326</c:v>
                </c:pt>
                <c:pt idx="1">
                  <c:v>271.960758</c:v>
                </c:pt>
                <c:pt idx="2">
                  <c:v>100.22335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anana Boat</c:v>
                </c:pt>
              </c:strCache>
            </c:strRef>
          </c:tx>
          <c:spPr>
            <a:solidFill>
              <a:srgbClr val="00A097"/>
            </a:solidFill>
            <a:ln>
              <a:solidFill>
                <a:schemeClr val="bg1"/>
              </a:solidFill>
            </a:ln>
            <a:effectLst/>
          </c:spPr>
          <c:invertIfNegative val="0"/>
          <c:dLbls>
            <c:dLbl>
              <c:idx val="0"/>
              <c:tx>
                <c:rich>
                  <a:bodyPr/>
                  <a:lstStyle/>
                  <a:p>
                    <a:r>
                      <a:rPr>
                        <a:solidFill>
                          <a:srgbClr val="FFFFFF"/>
                        </a:solidFill>
                      </a:rPr>
                      <a:t>251.8</a:t>
                    </a:r>
                  </a:p>
                </c:rich>
              </c:tx>
              <c:showLegendKey val="0"/>
              <c:showVal val="1"/>
              <c:showCatName val="0"/>
              <c:showSerName val="0"/>
              <c:showPercent val="0"/>
              <c:showBubbleSize val="0"/>
            </c:dLbl>
            <c:dLbl>
              <c:idx val="1"/>
              <c:tx>
                <c:rich>
                  <a:bodyPr/>
                  <a:lstStyle/>
                  <a:p>
                    <a:r>
                      <a:rPr>
                        <a:solidFill>
                          <a:srgbClr val="FFFFFF"/>
                        </a:solidFill>
                      </a:rPr>
                      <a:t>223.8</a:t>
                    </a:r>
                  </a:p>
                </c:rich>
              </c:tx>
              <c:showLegendKey val="0"/>
              <c:showVal val="1"/>
              <c:showCatName val="0"/>
              <c:showSerName val="0"/>
              <c:showPercent val="0"/>
              <c:showBubbleSize val="0"/>
            </c:dLbl>
            <c:dLbl>
              <c:idx val="2"/>
              <c:tx>
                <c:rich>
                  <a:bodyPr/>
                  <a:lstStyle/>
                  <a:p>
                    <a:r>
                      <a:rPr>
                        <a:solidFill>
                          <a:srgbClr val="FFFFFF"/>
                        </a:solidFill>
                      </a:rPr>
                      <a:t>7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51.772017</c:v>
                </c:pt>
                <c:pt idx="1">
                  <c:v>223.823352</c:v>
                </c:pt>
                <c:pt idx="2">
                  <c:v>75.02730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Isdin</c:v>
                </c:pt>
              </c:strCache>
            </c:strRef>
          </c:tx>
          <c:spPr>
            <a:solidFill>
              <a:srgbClr val="7F7F7F"/>
            </a:solidFill>
            <a:ln>
              <a:solidFill>
                <a:schemeClr val="bg1"/>
              </a:solidFill>
            </a:ln>
            <a:effectLst/>
          </c:spPr>
          <c:invertIfNegative val="0"/>
          <c:dLbls>
            <c:dLbl>
              <c:idx val="0"/>
              <c:tx>
                <c:rich>
                  <a:bodyPr/>
                  <a:lstStyle/>
                  <a:p>
                    <a:r>
                      <a:rPr>
                        <a:solidFill>
                          <a:srgbClr val="FFFFFF"/>
                        </a:solidFill>
                      </a:rPr>
                      <a:t>99.3</a:t>
                    </a:r>
                  </a:p>
                </c:rich>
              </c:tx>
              <c:showLegendKey val="0"/>
              <c:showVal val="1"/>
              <c:showCatName val="0"/>
              <c:showSerName val="0"/>
              <c:showPercent val="0"/>
              <c:showBubbleSize val="0"/>
            </c:dLbl>
            <c:dLbl>
              <c:idx val="1"/>
              <c:tx>
                <c:rich>
                  <a:bodyPr/>
                  <a:lstStyle/>
                  <a:p>
                    <a:r>
                      <a:rPr>
                        <a:solidFill>
                          <a:srgbClr val="FFFFFF"/>
                        </a:solidFill>
                      </a:rPr>
                      <a:t>108.3</a:t>
                    </a:r>
                  </a:p>
                </c:rich>
              </c:tx>
              <c:showLegendKey val="0"/>
              <c:showVal val="1"/>
              <c:showCatName val="0"/>
              <c:showSerName val="0"/>
              <c:showPercent val="0"/>
              <c:showBubbleSize val="0"/>
            </c:dLbl>
            <c:dLbl>
              <c:idx val="2"/>
              <c:tx>
                <c:rich>
                  <a:bodyPr/>
                  <a:lstStyle/>
                  <a:p>
                    <a:r>
                      <a:rPr>
                        <a:solidFill>
                          <a:srgbClr val="FFFFFF"/>
                        </a:solidFill>
                      </a:rPr>
                      <a:t>3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9.34508</c:v>
                </c:pt>
                <c:pt idx="1">
                  <c:v>108.263356</c:v>
                </c:pt>
                <c:pt idx="2">
                  <c:v>35.81100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Neutrogena</c:v>
                </c:pt>
              </c:strCache>
            </c:strRef>
          </c:tx>
          <c:spPr>
            <a:solidFill>
              <a:srgbClr val="575555"/>
            </a:solidFill>
            <a:ln>
              <a:solidFill>
                <a:schemeClr val="bg1"/>
              </a:solidFill>
            </a:ln>
            <a:effectLst/>
          </c:spPr>
          <c:invertIfNegative val="0"/>
          <c:dLbls>
            <c:dLbl>
              <c:idx val="0"/>
              <c:tx>
                <c:rich>
                  <a:bodyPr/>
                  <a:lstStyle/>
                  <a:p>
                    <a:r>
                      <a:rPr>
                        <a:solidFill>
                          <a:srgbClr val="FFFFFF"/>
                        </a:solidFill>
                      </a:rPr>
                      <a:t>64.3</a:t>
                    </a:r>
                  </a:p>
                </c:rich>
              </c:tx>
              <c:showLegendKey val="0"/>
              <c:showVal val="1"/>
              <c:showCatName val="0"/>
              <c:showSerName val="0"/>
              <c:showPercent val="0"/>
              <c:showBubbleSize val="0"/>
            </c:dLbl>
            <c:dLbl>
              <c:idx val="1"/>
              <c:tx>
                <c:rich>
                  <a:bodyPr/>
                  <a:lstStyle/>
                  <a:p>
                    <a:r>
                      <a:rPr>
                        <a:solidFill>
                          <a:srgbClr val="FFFFFF"/>
                        </a:solidFill>
                      </a:rPr>
                      <a:t>103.1</a:t>
                    </a:r>
                  </a:p>
                </c:rich>
              </c:tx>
              <c:showLegendKey val="0"/>
              <c:showVal val="1"/>
              <c:showCatName val="0"/>
              <c:showSerName val="0"/>
              <c:showPercent val="0"/>
              <c:showBubbleSize val="0"/>
            </c:dLbl>
            <c:dLbl>
              <c:idx val="2"/>
              <c:tx>
                <c:rich>
                  <a:bodyPr/>
                  <a:lstStyle/>
                  <a:p>
                    <a:r>
                      <a:rPr>
                        <a:solidFill>
                          <a:srgbClr val="FFFFFF"/>
                        </a:solidFill>
                      </a:rPr>
                      <a:t>3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64.323371</c:v>
                </c:pt>
                <c:pt idx="1">
                  <c:v>103.078082</c:v>
                </c:pt>
                <c:pt idx="2">
                  <c:v>35.18117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ribbean Beach</c:v>
                </c:pt>
              </c:strCache>
            </c:strRef>
          </c:tx>
          <c:spPr>
            <a:solidFill>
              <a:srgbClr val="575555"/>
            </a:solidFill>
            <a:ln>
              <a:solidFill>
                <a:schemeClr val="bg1"/>
              </a:solidFill>
            </a:ln>
            <a:effectLst/>
          </c:spPr>
          <c:invertIfNegative val="0"/>
          <c:dLbls>
            <c:dLbl>
              <c:idx val="0"/>
              <c:tx>
                <c:rich>
                  <a:bodyPr/>
                  <a:lstStyle/>
                  <a:p>
                    <a:r>
                      <a:rPr>
                        <a:solidFill>
                          <a:srgbClr val="FFFFFF"/>
                        </a:solidFill>
                      </a:rPr>
                      <a:t>95.7</a:t>
                    </a:r>
                  </a:p>
                </c:rich>
              </c:tx>
              <c:showLegendKey val="0"/>
              <c:showVal val="1"/>
              <c:showCatName val="0"/>
              <c:showSerName val="0"/>
              <c:showPercent val="0"/>
              <c:showBubbleSize val="0"/>
            </c:dLbl>
            <c:dLbl>
              <c:idx val="1"/>
              <c:tx>
                <c:rich>
                  <a:bodyPr/>
                  <a:lstStyle/>
                  <a:p>
                    <a:r>
                      <a:rPr>
                        <a:solidFill>
                          <a:srgbClr val="FFFFFF"/>
                        </a:solidFill>
                      </a:rPr>
                      <a:t>68.6</a:t>
                    </a:r>
                  </a:p>
                </c:rich>
              </c:tx>
              <c:showLegendKey val="0"/>
              <c:showVal val="1"/>
              <c:showCatName val="0"/>
              <c:showSerName val="0"/>
              <c:showPercent val="0"/>
              <c:showBubbleSize val="0"/>
            </c:dLbl>
            <c:dLbl>
              <c:idx val="2"/>
              <c:tx>
                <c:rich>
                  <a:bodyPr/>
                  <a:lstStyle/>
                  <a:p>
                    <a:r>
                      <a:rPr>
                        <a:solidFill>
                          <a:srgbClr val="FFFFFF"/>
                        </a:solidFill>
                      </a:rPr>
                      <a:t>2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95.717265</c:v>
                </c:pt>
                <c:pt idx="1">
                  <c:v>68.615631</c:v>
                </c:pt>
                <c:pt idx="2">
                  <c:v>22.51621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 Roche-Posay</c:v>
                </c:pt>
              </c:strCache>
            </c:strRef>
          </c:tx>
          <c:spPr>
            <a:solidFill>
              <a:srgbClr val="575555"/>
            </a:solidFill>
            <a:ln>
              <a:solidFill>
                <a:schemeClr val="bg1"/>
              </a:solidFill>
            </a:ln>
            <a:effectLst/>
          </c:spPr>
          <c:invertIfNegative val="0"/>
          <c:dLbls>
            <c:dLbl>
              <c:idx val="0"/>
              <c:tx>
                <c:rich>
                  <a:bodyPr/>
                  <a:lstStyle/>
                  <a:p>
                    <a:r>
                      <a:rPr>
                        <a:solidFill>
                          <a:srgbClr val="FFFFFF"/>
                        </a:solidFill>
                      </a:rPr>
                      <a:t>46.0</a:t>
                    </a:r>
                  </a:p>
                </c:rich>
              </c:tx>
              <c:showLegendKey val="0"/>
              <c:showVal val="1"/>
              <c:showCatName val="0"/>
              <c:showSerName val="0"/>
              <c:showPercent val="0"/>
              <c:showBubbleSize val="0"/>
            </c:dLbl>
            <c:dLbl>
              <c:idx val="1"/>
              <c:tx>
                <c:rich>
                  <a:bodyPr/>
                  <a:lstStyle/>
                  <a:p>
                    <a:r>
                      <a:rPr>
                        <a:solidFill>
                          <a:srgbClr val="FFFFFF"/>
                        </a:solidFill>
                      </a:rPr>
                      <a:t>51.7</a:t>
                    </a:r>
                  </a:p>
                </c:rich>
              </c:tx>
              <c:showLegendKey val="0"/>
              <c:showVal val="1"/>
              <c:showCatName val="0"/>
              <c:showSerName val="0"/>
              <c:showPercent val="0"/>
              <c:showBubbleSize val="0"/>
            </c:dLbl>
            <c:dLbl>
              <c:idx val="2"/>
              <c:tx>
                <c:rich>
                  <a:bodyPr/>
                  <a:lstStyle/>
                  <a:p>
                    <a:r>
                      <a:rPr>
                        <a:solidFill>
                          <a:srgbClr val="FFFFFF"/>
                        </a:solidFill>
                      </a:rPr>
                      <a:t>1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45.98978</c:v>
                </c:pt>
                <c:pt idx="1">
                  <c:v>51.654418</c:v>
                </c:pt>
                <c:pt idx="2">
                  <c:v>16.53591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3.1</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338311</c:v>
                </c:pt>
                <c:pt idx="1">
                  <c:v>13.125482</c:v>
                </c:pt>
                <c:pt idx="2">
                  <c:v>3.86468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28.0</a:t>
                    </a:r>
                  </a:p>
                </c:rich>
              </c:tx>
              <c:showLegendKey val="0"/>
              <c:showVal val="1"/>
              <c:showCatName val="0"/>
              <c:showSerName val="0"/>
              <c:showPercent val="0"/>
              <c:showBubbleSize val="0"/>
            </c:dLbl>
            <c:dLbl>
              <c:idx val="1"/>
              <c:tx>
                <c:rich>
                  <a:bodyPr/>
                  <a:lstStyle/>
                  <a:p>
                    <a:r>
                      <a:rPr>
                        <a:solidFill>
                          <a:srgbClr val="FFFFFF"/>
                        </a:solidFill>
                      </a:rPr>
                      <a:t>276.5</a:t>
                    </a:r>
                  </a:p>
                </c:rich>
              </c:tx>
              <c:showLegendKey val="0"/>
              <c:showVal val="1"/>
              <c:showCatName val="0"/>
              <c:showSerName val="0"/>
              <c:showPercent val="0"/>
              <c:showBubbleSize val="0"/>
            </c:dLbl>
            <c:dLbl>
              <c:idx val="2"/>
              <c:tx>
                <c:rich>
                  <a:bodyPr/>
                  <a:lstStyle/>
                  <a:p>
                    <a:r>
                      <a:rPr>
                        <a:solidFill>
                          <a:srgbClr val="FFFFFF"/>
                        </a:solidFill>
                      </a:rPr>
                      <a:t>10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27.991452</c:v>
                </c:pt>
                <c:pt idx="1">
                  <c:v>276.474412</c:v>
                </c:pt>
                <c:pt idx="2">
                  <c:v>106.7132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a:solidFill>
                          <a:srgbClr val="FFFFFF"/>
                        </a:solidFill>
                      </a:rPr>
                      <a:t>50.9</a:t>
                    </a:r>
                  </a:p>
                </c:rich>
              </c:tx>
              <c:showLegendKey val="0"/>
              <c:showVal val="1"/>
              <c:showCatName val="0"/>
              <c:showSerName val="0"/>
              <c:showPercent val="0"/>
              <c:showBubbleSize val="0"/>
            </c:dLbl>
            <c:dLbl>
              <c:idx val="1"/>
              <c:tx>
                <c:rich>
                  <a:bodyPr/>
                  <a:lstStyle/>
                  <a:p>
                    <a:r>
                      <a:rPr>
                        <a:solidFill>
                          <a:srgbClr val="FFFFFF"/>
                        </a:solidFill>
                      </a:rPr>
                      <a:t>63.1</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0.888139</c:v>
                </c:pt>
                <c:pt idx="1">
                  <c:v>63.147016</c:v>
                </c:pt>
                <c:pt idx="2">
                  <c:v>18.26694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2875</c:v>
                </c:pt>
                <c:pt idx="1">
                  <c:v>0.085323</c:v>
                </c:pt>
                <c:pt idx="2">
                  <c:v>0.031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4968</c:v>
                </c:pt>
                <c:pt idx="1">
                  <c:v>0.071057</c:v>
                </c:pt>
                <c:pt idx="2">
                  <c:v>0.02326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14</c:v>
                </c:pt>
                <c:pt idx="1">
                  <c:v>0.001367</c:v>
                </c:pt>
                <c:pt idx="2">
                  <c:v>0.0002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a:solidFill>
                          <a:srgbClr val="FFFFFF"/>
                        </a:solidFill>
                      </a:rPr>
                      <a:t>90.7</a:t>
                    </a:r>
                  </a:p>
                </c:rich>
              </c:tx>
              <c:showLegendKey val="0"/>
              <c:showVal val="1"/>
              <c:showCatName val="0"/>
              <c:showSerName val="0"/>
              <c:showPercent val="0"/>
              <c:showBubbleSize val="0"/>
            </c:dLbl>
            <c:dLbl>
              <c:idx val="1"/>
              <c:tx>
                <c:rich>
                  <a:bodyPr/>
                  <a:lstStyle/>
                  <a:p>
                    <a:r>
                      <a:rPr>
                        <a:solidFill>
                          <a:srgbClr val="FFFFFF"/>
                        </a:solidFill>
                      </a:rPr>
                      <a:t>90.3</a:t>
                    </a:r>
                  </a:p>
                </c:rich>
              </c:tx>
              <c:showLegendKey val="0"/>
              <c:showVal val="1"/>
              <c:showCatName val="0"/>
              <c:showSerName val="0"/>
              <c:showPercent val="0"/>
              <c:showBubbleSize val="0"/>
            </c:dLbl>
            <c:dLbl>
              <c:idx val="2"/>
              <c:tx>
                <c:rich>
                  <a:bodyPr/>
                  <a:lstStyle/>
                  <a:p>
                    <a:r>
                      <a:rPr>
                        <a:solidFill>
                          <a:srgbClr val="FFFFFF"/>
                        </a:solidFill>
                      </a:rPr>
                      <a:t>3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0.709622</c:v>
                </c:pt>
                <c:pt idx="1">
                  <c:v>90.310731</c:v>
                </c:pt>
                <c:pt idx="2">
                  <c:v>33.29712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81.9</a:t>
                    </a:r>
                  </a:p>
                </c:rich>
              </c:tx>
              <c:showLegendKey val="0"/>
              <c:showVal val="1"/>
              <c:showCatName val="0"/>
              <c:showSerName val="0"/>
              <c:showPercent val="0"/>
              <c:showBubbleSize val="0"/>
            </c:dLbl>
            <c:dLbl>
              <c:idx val="1"/>
              <c:tx>
                <c:rich>
                  <a:bodyPr/>
                  <a:lstStyle/>
                  <a:p>
                    <a:r>
                      <a:rPr>
                        <a:solidFill>
                          <a:srgbClr val="FFFFFF"/>
                        </a:solidFill>
                      </a:rPr>
                      <a:t>74.3</a:t>
                    </a:r>
                  </a:p>
                </c:rich>
              </c:tx>
              <c:showLegendKey val="0"/>
              <c:showVal val="1"/>
              <c:showCatName val="0"/>
              <c:showSerName val="0"/>
              <c:showPercent val="0"/>
              <c:showBubbleSize val="0"/>
            </c:dLbl>
            <c:dLbl>
              <c:idx val="2"/>
              <c:tx>
                <c:rich>
                  <a:bodyPr/>
                  <a:lstStyle/>
                  <a:p>
                    <a:r>
                      <a:rPr>
                        <a:solidFill>
                          <a:srgbClr val="FFFFFF"/>
                        </a:solidFill>
                      </a:rPr>
                      <a:t>2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1.930307</c:v>
                </c:pt>
                <c:pt idx="1">
                  <c:v>74.332451</c:v>
                </c:pt>
                <c:pt idx="2">
                  <c:v>24.16286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5.0</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16053</c:v>
                </c:pt>
                <c:pt idx="1">
                  <c:v>5.025038</c:v>
                </c:pt>
                <c:pt idx="2">
                  <c:v>1.1362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anana Boat</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5357</c:v>
                </c:pt>
                <c:pt idx="1">
                  <c:v>0.031582</c:v>
                </c:pt>
                <c:pt idx="2">
                  <c:v>0.01108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3448</c:v>
                </c:pt>
                <c:pt idx="1">
                  <c:v>0.030508</c:v>
                </c:pt>
                <c:pt idx="2">
                  <c:v>0.0107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00391</c:v>
                </c:pt>
                <c:pt idx="2">
                  <c:v>0.0001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1965</c:v>
                </c:pt>
                <c:pt idx="1">
                  <c:v>0.483537</c:v>
                </c:pt>
                <c:pt idx="2">
                  <c:v>0.17239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93229</c:v>
                </c:pt>
                <c:pt idx="1">
                  <c:v>0.600238</c:v>
                </c:pt>
                <c:pt idx="2">
                  <c:v>0.21677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7401</c:v>
                </c:pt>
                <c:pt idx="1">
                  <c:v>0.088258</c:v>
                </c:pt>
                <c:pt idx="2">
                  <c:v>0.0281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9993</c:v>
                </c:pt>
                <c:pt idx="1">
                  <c:v>0.052644</c:v>
                </c:pt>
                <c:pt idx="2">
                  <c:v>0.02181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0086</c:v>
                </c:pt>
                <c:pt idx="1">
                  <c:v>0.027916</c:v>
                </c:pt>
                <c:pt idx="2">
                  <c:v>0.00909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9221</c:v>
                </c:pt>
                <c:pt idx="1">
                  <c:v>0.047612</c:v>
                </c:pt>
                <c:pt idx="2">
                  <c:v>0.0166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4115</c:v>
                </c:pt>
                <c:pt idx="1">
                  <c:v>0.013973</c:v>
                </c:pt>
                <c:pt idx="2">
                  <c:v>0.00449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7507</c:v>
                </c:pt>
                <c:pt idx="1">
                  <c:v>0.008672</c:v>
                </c:pt>
                <c:pt idx="2">
                  <c:v>0.00302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37649</c:v>
                </c:pt>
                <c:pt idx="1">
                  <c:v>0.146353</c:v>
                </c:pt>
                <c:pt idx="2">
                  <c:v>0.04417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4694</c:v>
                </c:pt>
                <c:pt idx="1">
                  <c:v>0.163515</c:v>
                </c:pt>
                <c:pt idx="2">
                  <c:v>0.06483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anana Boat</c:v>
                </c:pt>
              </c:strCache>
            </c:strRef>
          </c:tx>
          <c:spPr>
            <a:solidFill>
              <a:srgbClr val="00504B"/>
            </a:solidFill>
            <a:ln>
              <a:solidFill>
                <a:schemeClr val="bg1"/>
              </a:solidFill>
            </a:ln>
            <a:effectLst/>
          </c:spPr>
          <c:invertIfNegative val="0"/>
          <c:dLbls>
            <c:dLbl>
              <c:idx val="0"/>
              <c:tx>
                <c:rich>
                  <a:bodyPr/>
                  <a:lstStyle/>
                  <a:p>
                    <a:r>
                      <a:rPr>
                        <a:solidFill>
                          <a:srgbClr val="FFFFFF"/>
                        </a:solidFill>
                      </a:rPr>
                      <a:t>38.5</a:t>
                    </a:r>
                  </a:p>
                </c:rich>
              </c:tx>
              <c:showLegendKey val="0"/>
              <c:showVal val="1"/>
              <c:showCatName val="0"/>
              <c:showSerName val="0"/>
              <c:showPercent val="0"/>
              <c:showBubbleSize val="0"/>
            </c:dLbl>
            <c:dLbl>
              <c:idx val="1"/>
              <c:tx>
                <c:rich>
                  <a:bodyPr/>
                  <a:lstStyle/>
                  <a:p>
                    <a:r>
                      <a:rPr>
                        <a:solidFill>
                          <a:srgbClr val="FFFFFF"/>
                        </a:solidFill>
                      </a:rPr>
                      <a:t>26.9</a:t>
                    </a:r>
                  </a:p>
                </c:rich>
              </c:tx>
              <c:showLegendKey val="0"/>
              <c:showVal val="1"/>
              <c:showCatName val="0"/>
              <c:showSerName val="0"/>
              <c:showPercent val="0"/>
              <c:showBubbleSize val="0"/>
            </c:dLbl>
            <c:dLbl>
              <c:idx val="2"/>
              <c:tx>
                <c:rich>
                  <a:bodyPr/>
                  <a:lstStyle/>
                  <a:p>
                    <a:r>
                      <a:rPr>
                        <a:solidFill>
                          <a:srgbClr val="FFFFFF"/>
                        </a:solidFill>
                      </a:rPr>
                      <a:t>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8.456452</c:v>
                </c:pt>
                <c:pt idx="1">
                  <c:v>26.907554</c:v>
                </c:pt>
                <c:pt idx="2">
                  <c:v>9.12594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tx>
                <c:rich>
                  <a:bodyPr/>
                  <a:lstStyle/>
                  <a:p>
                    <a:r>
                      <a:rPr>
                        <a:solidFill>
                          <a:srgbClr val="FFFFFF"/>
                        </a:solidFill>
                      </a:rPr>
                      <a:t>30.3</a:t>
                    </a:r>
                  </a:p>
                </c:rich>
              </c:tx>
              <c:showLegendKey val="0"/>
              <c:showVal val="1"/>
              <c:showCatName val="0"/>
              <c:showSerName val="0"/>
              <c:showPercent val="0"/>
              <c:showBubbleSize val="0"/>
            </c:dLbl>
            <c:dLbl>
              <c:idx val="1"/>
              <c:tx>
                <c:rich>
                  <a:bodyPr/>
                  <a:lstStyle/>
                  <a:p>
                    <a:r>
                      <a:rPr>
                        <a:solidFill>
                          <a:srgbClr val="FFFFFF"/>
                        </a:solidFill>
                      </a:rPr>
                      <a:t>29.7</a:t>
                    </a:r>
                  </a:p>
                </c:rich>
              </c:tx>
              <c:showLegendKey val="0"/>
              <c:showVal val="1"/>
              <c:showCatName val="0"/>
              <c:showSerName val="0"/>
              <c:showPercent val="0"/>
              <c:showBubbleSize val="0"/>
            </c:dLbl>
            <c:dLbl>
              <c:idx val="2"/>
              <c:tx>
                <c:rich>
                  <a:bodyPr/>
                  <a:lstStyle/>
                  <a:p>
                    <a:r>
                      <a:rPr>
                        <a:solidFill>
                          <a:srgbClr val="FFFFFF"/>
                        </a:solidFill>
                      </a:rPr>
                      <a:t>1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0.269349</c:v>
                </c:pt>
                <c:pt idx="1">
                  <c:v>29.69403</c:v>
                </c:pt>
                <c:pt idx="2">
                  <c:v>10.68095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1.662207</c:v>
                </c:pt>
                <c:pt idx="2">
                  <c:v>0.7464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59</c:v>
                </c:pt>
                <c:pt idx="1">
                  <c:v>0.007191</c:v>
                </c:pt>
                <c:pt idx="2">
                  <c:v>0.0024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012</c:v>
                </c:pt>
                <c:pt idx="1">
                  <c:v>0.003999</c:v>
                </c:pt>
                <c:pt idx="2">
                  <c:v>0.0012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e-05</c:v>
                </c:pt>
                <c:pt idx="1">
                  <c:v>8.7e-05</c:v>
                </c:pt>
                <c:pt idx="2">
                  <c:v>1.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7.8</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129802</c:v>
                </c:pt>
                <c:pt idx="1">
                  <c:v>7.83545</c:v>
                </c:pt>
                <c:pt idx="2">
                  <c:v>2.43939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4.3</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314981</c:v>
                </c:pt>
                <c:pt idx="1">
                  <c:v>4.132358</c:v>
                </c:pt>
                <c:pt idx="2">
                  <c:v>1.34231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9976</c:v>
                </c:pt>
                <c:pt idx="1">
                  <c:v>0.513106</c:v>
                </c:pt>
                <c:pt idx="2">
                  <c:v>0.12951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412</c:v>
                </c:pt>
                <c:pt idx="1">
                  <c:v>0.00576</c:v>
                </c:pt>
                <c:pt idx="2">
                  <c:v>0.0029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102</c:v>
                </c:pt>
                <c:pt idx="1">
                  <c:v>0.004937</c:v>
                </c:pt>
                <c:pt idx="2">
                  <c:v>0.0022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1.1e-05</c:v>
                </c:pt>
                <c:pt idx="2">
                  <c:v>2e-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5.8</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16138</c:v>
                </c:pt>
                <c:pt idx="1">
                  <c:v>5.829007</c:v>
                </c:pt>
                <c:pt idx="2">
                  <c:v>2.82747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6.2</a:t>
                    </a:r>
                  </a:p>
                </c:rich>
              </c:tx>
              <c:showLegendKey val="0"/>
              <c:showVal val="1"/>
              <c:showCatName val="0"/>
              <c:showSerName val="0"/>
              <c:showPercent val="0"/>
              <c:showBubbleSize val="0"/>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232188</c:v>
                </c:pt>
                <c:pt idx="1">
                  <c:v>4.019838</c:v>
                </c:pt>
                <c:pt idx="2">
                  <c:v>1.84599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7781</c:v>
                </c:pt>
                <c:pt idx="2">
                  <c:v>0.0596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4625</c:v>
                </c:pt>
                <c:pt idx="1">
                  <c:v>0.480666</c:v>
                </c:pt>
                <c:pt idx="2">
                  <c:v>0.17089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6408</c:v>
                </c:pt>
                <c:pt idx="1">
                  <c:v>0.097568</c:v>
                </c:pt>
                <c:pt idx="2">
                  <c:v>0.03078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10563</c:v>
                </c:pt>
                <c:pt idx="1">
                  <c:v>0.287859</c:v>
                </c:pt>
                <c:pt idx="2">
                  <c:v>0.10845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1687</c:v>
                </c:pt>
                <c:pt idx="1">
                  <c:v>0.03485</c:v>
                </c:pt>
                <c:pt idx="2">
                  <c:v>0.01170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05053</c:v>
                </c:pt>
                <c:pt idx="1">
                  <c:v>0.250774</c:v>
                </c:pt>
                <c:pt idx="2">
                  <c:v>0.08619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9988</c:v>
                </c:pt>
                <c:pt idx="1">
                  <c:v>0.030257</c:v>
                </c:pt>
                <c:pt idx="2">
                  <c:v>0.01085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1961</c:v>
                </c:pt>
                <c:pt idx="1">
                  <c:v>0.028991</c:v>
                </c:pt>
                <c:pt idx="2">
                  <c:v>0.01002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84</c:v>
                </c:pt>
                <c:pt idx="1">
                  <c:v>0.003501</c:v>
                </c:pt>
                <c:pt idx="2">
                  <c:v>0.00107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57082</c:v>
                </c:pt>
                <c:pt idx="1">
                  <c:v>0.458268</c:v>
                </c:pt>
                <c:pt idx="2">
                  <c:v>0.16503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2079</c:v>
                </c:pt>
                <c:pt idx="1">
                  <c:v>0.116267</c:v>
                </c:pt>
                <c:pt idx="2">
                  <c:v>0.0420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a:solidFill>
                          <a:srgbClr val="FFFFFF"/>
                        </a:solidFill>
                      </a:rPr>
                      <a:t>858.9</a:t>
                    </a:r>
                  </a:p>
                </c:rich>
              </c:tx>
              <c:showLegendKey val="0"/>
              <c:showVal val="1"/>
              <c:showCatName val="0"/>
              <c:showSerName val="0"/>
              <c:showPercent val="0"/>
              <c:showBubbleSize val="0"/>
            </c:dLbl>
            <c:dLbl>
              <c:idx val="1"/>
              <c:tx>
                <c:rich>
                  <a:bodyPr/>
                  <a:lstStyle/>
                  <a:p>
                    <a:r>
                      <a:rPr>
                        <a:solidFill>
                          <a:srgbClr val="FFFFFF"/>
                        </a:solidFill>
                      </a:rPr>
                      <a:t>825.1</a:t>
                    </a:r>
                  </a:p>
                </c:rich>
              </c:tx>
              <c:showLegendKey val="0"/>
              <c:showVal val="1"/>
              <c:showCatName val="0"/>
              <c:showSerName val="0"/>
              <c:showPercent val="0"/>
              <c:showBubbleSize val="0"/>
            </c:dLbl>
            <c:dLbl>
              <c:idx val="2"/>
              <c:tx>
                <c:rich>
                  <a:bodyPr/>
                  <a:lstStyle/>
                  <a:p>
                    <a:r>
                      <a:rPr>
                        <a:solidFill>
                          <a:srgbClr val="FFFFFF"/>
                        </a:solidFill>
                      </a:rPr>
                      <a:t>28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58.905565</c:v>
                </c:pt>
                <c:pt idx="1">
                  <c:v>825.080417</c:v>
                </c:pt>
                <c:pt idx="2">
                  <c:v>289.5929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tx>
                <c:rich>
                  <a:bodyPr/>
                  <a:lstStyle/>
                  <a:p>
                    <a:r>
                      <a:rPr>
                        <a:solidFill>
                          <a:srgbClr val="FFFFFF"/>
                        </a:solidFill>
                      </a:rPr>
                      <a:t>596.2</a:t>
                    </a:r>
                  </a:p>
                </c:rich>
              </c:tx>
              <c:showLegendKey val="0"/>
              <c:showVal val="1"/>
              <c:showCatName val="0"/>
              <c:showSerName val="0"/>
              <c:showPercent val="0"/>
              <c:showBubbleSize val="0"/>
            </c:dLbl>
            <c:dLbl>
              <c:idx val="1"/>
              <c:tx>
                <c:rich>
                  <a:bodyPr/>
                  <a:lstStyle/>
                  <a:p>
                    <a:r>
                      <a:rPr>
                        <a:solidFill>
                          <a:srgbClr val="FFFFFF"/>
                        </a:solidFill>
                      </a:rPr>
                      <a:t>636.2</a:t>
                    </a:r>
                  </a:p>
                </c:rich>
              </c:tx>
              <c:showLegendKey val="0"/>
              <c:showVal val="1"/>
              <c:showCatName val="0"/>
              <c:showSerName val="0"/>
              <c:showPercent val="0"/>
              <c:showBubbleSize val="0"/>
            </c:dLbl>
            <c:dLbl>
              <c:idx val="2"/>
              <c:tx>
                <c:rich>
                  <a:bodyPr/>
                  <a:lstStyle/>
                  <a:p>
                    <a:r>
                      <a:rPr>
                        <a:solidFill>
                          <a:srgbClr val="FFFFFF"/>
                        </a:solidFill>
                      </a:rPr>
                      <a:t>2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96.152096</c:v>
                </c:pt>
                <c:pt idx="1">
                  <c:v>636.151875</c:v>
                </c:pt>
                <c:pt idx="2">
                  <c:v>212.48828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tx>
                <c:rich>
                  <a:bodyPr/>
                  <a:lstStyle/>
                  <a:p>
                    <a:r>
                      <a:rPr>
                        <a:solidFill>
                          <a:srgbClr val="FFFFFF"/>
                        </a:solidFill>
                      </a:rPr>
                      <a:t>355.5</a:t>
                    </a:r>
                  </a:p>
                </c:rich>
              </c:tx>
              <c:showLegendKey val="0"/>
              <c:showVal val="1"/>
              <c:showCatName val="0"/>
              <c:showSerName val="0"/>
              <c:showPercent val="0"/>
              <c:showBubbleSize val="0"/>
            </c:dLbl>
            <c:dLbl>
              <c:idx val="1"/>
              <c:tx>
                <c:rich>
                  <a:bodyPr/>
                  <a:lstStyle/>
                  <a:p>
                    <a:r>
                      <a:rPr>
                        <a:solidFill>
                          <a:srgbClr val="FFFFFF"/>
                        </a:solidFill>
                      </a:rPr>
                      <a:t>346.4</a:t>
                    </a:r>
                  </a:p>
                </c:rich>
              </c:tx>
              <c:showLegendKey val="0"/>
              <c:showVal val="1"/>
              <c:showCatName val="0"/>
              <c:showSerName val="0"/>
              <c:showPercent val="0"/>
              <c:showBubbleSize val="0"/>
            </c:dLbl>
            <c:dLbl>
              <c:idx val="2"/>
              <c:tx>
                <c:rich>
                  <a:bodyPr/>
                  <a:lstStyle/>
                  <a:p>
                    <a:r>
                      <a:rPr>
                        <a:solidFill>
                          <a:srgbClr val="FFFFFF"/>
                        </a:solidFill>
                      </a:rPr>
                      <a:t>13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55.499106</c:v>
                </c:pt>
                <c:pt idx="1">
                  <c:v>346.420641</c:v>
                </c:pt>
                <c:pt idx="2">
                  <c:v>132.29409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tx>
                <c:rich>
                  <a:bodyPr/>
                  <a:lstStyle/>
                  <a:p>
                    <a:r>
                      <a:rPr>
                        <a:solidFill>
                          <a:srgbClr val="FFFFFF"/>
                        </a:solidFill>
                      </a:rPr>
                      <a:t>313.6</a:t>
                    </a:r>
                  </a:p>
                </c:rich>
              </c:tx>
              <c:showLegendKey val="0"/>
              <c:showVal val="1"/>
              <c:showCatName val="0"/>
              <c:showSerName val="0"/>
              <c:showPercent val="0"/>
              <c:showBubbleSize val="0"/>
            </c:dLbl>
            <c:dLbl>
              <c:idx val="1"/>
              <c:tx>
                <c:rich>
                  <a:bodyPr/>
                  <a:lstStyle/>
                  <a:p>
                    <a:r>
                      <a:rPr>
                        <a:solidFill>
                          <a:srgbClr val="FFFFFF"/>
                        </a:solidFill>
                      </a:rPr>
                      <a:t>370.9</a:t>
                    </a:r>
                  </a:p>
                </c:rich>
              </c:tx>
              <c:showLegendKey val="0"/>
              <c:showVal val="1"/>
              <c:showCatName val="0"/>
              <c:showSerName val="0"/>
              <c:showPercent val="0"/>
              <c:showBubbleSize val="0"/>
            </c:dLbl>
            <c:dLbl>
              <c:idx val="2"/>
              <c:tx>
                <c:rich>
                  <a:bodyPr/>
                  <a:lstStyle/>
                  <a:p>
                    <a:r>
                      <a:rPr>
                        <a:solidFill>
                          <a:srgbClr val="FFFFFF"/>
                        </a:solidFill>
                      </a:rPr>
                      <a:t>12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13.592478</c:v>
                </c:pt>
                <c:pt idx="1">
                  <c:v>370.940997</c:v>
                </c:pt>
                <c:pt idx="2">
                  <c:v>122.21350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tx>
                <c:rich>
                  <a:bodyPr/>
                  <a:lstStyle/>
                  <a:p>
                    <a:r>
                      <a:rPr>
                        <a:solidFill>
                          <a:srgbClr val="FFFFFF"/>
                        </a:solidFill>
                      </a:rPr>
                      <a:t>346.0</a:t>
                    </a:r>
                  </a:p>
                </c:rich>
              </c:tx>
              <c:showLegendKey val="0"/>
              <c:showVal val="1"/>
              <c:showCatName val="0"/>
              <c:showSerName val="0"/>
              <c:showPercent val="0"/>
              <c:showBubbleSize val="0"/>
            </c:dLbl>
            <c:dLbl>
              <c:idx val="1"/>
              <c:tx>
                <c:rich>
                  <a:bodyPr/>
                  <a:lstStyle/>
                  <a:p>
                    <a:r>
                      <a:rPr>
                        <a:solidFill>
                          <a:srgbClr val="FFFFFF"/>
                        </a:solidFill>
                      </a:rPr>
                      <a:t>312.2</a:t>
                    </a:r>
                  </a:p>
                </c:rich>
              </c:tx>
              <c:showLegendKey val="0"/>
              <c:showVal val="1"/>
              <c:showCatName val="0"/>
              <c:showSerName val="0"/>
              <c:showPercent val="0"/>
              <c:showBubbleSize val="0"/>
            </c:dLbl>
            <c:dLbl>
              <c:idx val="2"/>
              <c:tx>
                <c:rich>
                  <a:bodyPr/>
                  <a:lstStyle/>
                  <a:p>
                    <a:r>
                      <a:rPr>
                        <a:solidFill>
                          <a:srgbClr val="FFFFFF"/>
                        </a:solidFill>
                      </a:rPr>
                      <a:t>10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46.0051</c:v>
                </c:pt>
                <c:pt idx="1">
                  <c:v>312.167641</c:v>
                </c:pt>
                <c:pt idx="2">
                  <c:v>107.7869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tx>
                <c:rich>
                  <a:bodyPr/>
                  <a:lstStyle/>
                  <a:p>
                    <a:r>
                      <a:rPr>
                        <a:solidFill>
                          <a:srgbClr val="FFFFFF"/>
                        </a:solidFill>
                      </a:rPr>
                      <a:t>257.6</a:t>
                    </a:r>
                  </a:p>
                </c:rich>
              </c:tx>
              <c:showLegendKey val="0"/>
              <c:showVal val="1"/>
              <c:showCatName val="0"/>
              <c:showSerName val="0"/>
              <c:showPercent val="0"/>
              <c:showBubbleSize val="0"/>
            </c:dLbl>
            <c:dLbl>
              <c:idx val="1"/>
              <c:tx>
                <c:rich>
                  <a:bodyPr/>
                  <a:lstStyle/>
                  <a:p>
                    <a:r>
                      <a:rPr>
                        <a:solidFill>
                          <a:srgbClr val="FFFFFF"/>
                        </a:solidFill>
                      </a:rPr>
                      <a:t>278.5</a:t>
                    </a:r>
                  </a:p>
                </c:rich>
              </c:tx>
              <c:showLegendKey val="0"/>
              <c:showVal val="1"/>
              <c:showCatName val="0"/>
              <c:showSerName val="0"/>
              <c:showPercent val="0"/>
              <c:showBubbleSize val="0"/>
            </c:dLbl>
            <c:dLbl>
              <c:idx val="2"/>
              <c:tx>
                <c:rich>
                  <a:bodyPr/>
                  <a:lstStyle/>
                  <a:p>
                    <a:r>
                      <a:rPr>
                        <a:solidFill>
                          <a:srgbClr val="FFFFFF"/>
                        </a:solidFill>
                      </a:rPr>
                      <a:t>9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57.568313</c:v>
                </c:pt>
                <c:pt idx="1">
                  <c:v>278.497342</c:v>
                </c:pt>
                <c:pt idx="2">
                  <c:v>98.1658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tx>
                <c:rich>
                  <a:bodyPr/>
                  <a:lstStyle/>
                  <a:p>
                    <a:r>
                      <a:rPr>
                        <a:solidFill>
                          <a:srgbClr val="FFFFFF"/>
                        </a:solidFill>
                      </a:rPr>
                      <a:t>222.8</a:t>
                    </a:r>
                  </a:p>
                </c:rich>
              </c:tx>
              <c:showLegendKey val="0"/>
              <c:showVal val="1"/>
              <c:showCatName val="0"/>
              <c:showSerName val="0"/>
              <c:showPercent val="0"/>
              <c:showBubbleSize val="0"/>
            </c:dLbl>
            <c:dLbl>
              <c:idx val="1"/>
              <c:tx>
                <c:rich>
                  <a:bodyPr/>
                  <a:lstStyle/>
                  <a:p>
                    <a:r>
                      <a:rPr>
                        <a:solidFill>
                          <a:srgbClr val="FFFFFF"/>
                        </a:solidFill>
                      </a:rPr>
                      <a:t>226.3</a:t>
                    </a:r>
                  </a:p>
                </c:rich>
              </c:tx>
              <c:showLegendKey val="0"/>
              <c:showVal val="1"/>
              <c:showCatName val="0"/>
              <c:showSerName val="0"/>
              <c:showPercent val="0"/>
              <c:showBubbleSize val="0"/>
            </c:dLbl>
            <c:dLbl>
              <c:idx val="2"/>
              <c:tx>
                <c:rich>
                  <a:bodyPr/>
                  <a:lstStyle/>
                  <a:p>
                    <a:r>
                      <a:rPr>
                        <a:solidFill>
                          <a:srgbClr val="FFFFFF"/>
                        </a:solidFill>
                      </a:rPr>
                      <a:t>7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22.808802</c:v>
                </c:pt>
                <c:pt idx="1">
                  <c:v>226.25507</c:v>
                </c:pt>
                <c:pt idx="2">
                  <c:v>77.76845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5764</c:v>
                </c:pt>
                <c:pt idx="1">
                  <c:v>13.614799</c:v>
                </c:pt>
                <c:pt idx="2">
                  <c:v>4.1887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788.9</a:t>
                    </a:r>
                  </a:p>
                </c:rich>
              </c:tx>
              <c:showLegendKey val="0"/>
              <c:showVal val="1"/>
              <c:showCatName val="0"/>
              <c:showSerName val="0"/>
              <c:showPercent val="0"/>
              <c:showBubbleSize val="0"/>
            </c:dLbl>
            <c:dLbl>
              <c:idx val="1"/>
              <c:tx>
                <c:rich>
                  <a:bodyPr/>
                  <a:lstStyle/>
                  <a:p>
                    <a:r>
                      <a:rPr>
                        <a:solidFill>
                          <a:srgbClr val="FFFFFF"/>
                        </a:solidFill>
                      </a:rPr>
                      <a:t>973.7</a:t>
                    </a:r>
                  </a:p>
                </c:rich>
              </c:tx>
              <c:showLegendKey val="0"/>
              <c:showVal val="1"/>
              <c:showCatName val="0"/>
              <c:showSerName val="0"/>
              <c:showPercent val="0"/>
              <c:showBubbleSize val="0"/>
            </c:dLbl>
            <c:dLbl>
              <c:idx val="2"/>
              <c:tx>
                <c:rich>
                  <a:bodyPr/>
                  <a:lstStyle/>
                  <a:p>
                    <a:r>
                      <a:rPr>
                        <a:solidFill>
                          <a:srgbClr val="FFFFFF"/>
                        </a:solidFill>
                      </a:rPr>
                      <a:t>37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88.944991</c:v>
                </c:pt>
                <c:pt idx="1">
                  <c:v>973.697955</c:v>
                </c:pt>
                <c:pt idx="2">
                  <c:v>372.92754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a:solidFill>
                          <a:srgbClr val="FFFFFF"/>
                        </a:solidFill>
                      </a:rPr>
                      <a:t>146.0</a:t>
                    </a:r>
                  </a:p>
                </c:rich>
              </c:tx>
              <c:showLegendKey val="0"/>
              <c:showVal val="1"/>
              <c:showCatName val="0"/>
              <c:showSerName val="0"/>
              <c:showPercent val="0"/>
              <c:showBubbleSize val="0"/>
            </c:dLbl>
            <c:dLbl>
              <c:idx val="1"/>
              <c:tx>
                <c:rich>
                  <a:bodyPr/>
                  <a:lstStyle/>
                  <a:p>
                    <a:r>
                      <a:rPr>
                        <a:solidFill>
                          <a:srgbClr val="FFFFFF"/>
                        </a:solidFill>
                      </a:rPr>
                      <a:t>218.3</a:t>
                    </a:r>
                  </a:p>
                </c:rich>
              </c:tx>
              <c:showLegendKey val="0"/>
              <c:showVal val="1"/>
              <c:showCatName val="0"/>
              <c:showSerName val="0"/>
              <c:showPercent val="0"/>
              <c:showBubbleSize val="0"/>
            </c:dLbl>
            <c:dLbl>
              <c:idx val="2"/>
              <c:tx>
                <c:rich>
                  <a:bodyPr/>
                  <a:lstStyle/>
                  <a:p>
                    <a:r>
                      <a:rPr>
                        <a:solidFill>
                          <a:srgbClr val="FFFFFF"/>
                        </a:solidFill>
                      </a:rPr>
                      <a:t>8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6.02351</c:v>
                </c:pt>
                <c:pt idx="1">
                  <c:v>218.282756</c:v>
                </c:pt>
                <c:pt idx="2">
                  <c:v>84.88424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1081</c:v>
                </c:pt>
                <c:pt idx="1">
                  <c:v>0.117106</c:v>
                </c:pt>
                <c:pt idx="2">
                  <c:v>0.04307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8873</c:v>
                </c:pt>
                <c:pt idx="1">
                  <c:v>0.099974</c:v>
                </c:pt>
                <c:pt idx="2">
                  <c:v>0.0335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29</c:v>
                </c:pt>
                <c:pt idx="1">
                  <c:v>0.001856</c:v>
                </c:pt>
                <c:pt idx="2">
                  <c:v>0.00044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a:solidFill>
                          <a:srgbClr val="FFFFFF"/>
                        </a:solidFill>
                      </a:rPr>
                      <a:t>121.1</a:t>
                    </a:r>
                  </a:p>
                </c:rich>
              </c:tx>
              <c:showLegendKey val="0"/>
              <c:showVal val="1"/>
              <c:showCatName val="0"/>
              <c:showSerName val="0"/>
              <c:showPercent val="0"/>
              <c:showBubbleSize val="0"/>
            </c:dLbl>
            <c:dLbl>
              <c:idx val="1"/>
              <c:tx>
                <c:rich>
                  <a:bodyPr/>
                  <a:lstStyle/>
                  <a:p>
                    <a:r>
                      <a:rPr>
                        <a:solidFill>
                          <a:srgbClr val="FFFFFF"/>
                        </a:solidFill>
                      </a:rPr>
                      <a:t>124.2</a:t>
                    </a:r>
                  </a:p>
                </c:rich>
              </c:tx>
              <c:showLegendKey val="0"/>
              <c:showVal val="1"/>
              <c:showCatName val="0"/>
              <c:showSerName val="0"/>
              <c:showPercent val="0"/>
              <c:showBubbleSize val="0"/>
            </c:dLbl>
            <c:dLbl>
              <c:idx val="2"/>
              <c:tx>
                <c:rich>
                  <a:bodyPr/>
                  <a:lstStyle/>
                  <a:p>
                    <a:r>
                      <a:rPr>
                        <a:solidFill>
                          <a:srgbClr val="FFFFFF"/>
                        </a:solidFill>
                      </a:rPr>
                      <a:t>4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1.099869</c:v>
                </c:pt>
                <c:pt idx="1">
                  <c:v>124.16808</c:v>
                </c:pt>
                <c:pt idx="2">
                  <c:v>45.6637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122.5</a:t>
                    </a:r>
                  </a:p>
                </c:rich>
              </c:tx>
              <c:showLegendKey val="0"/>
              <c:showVal val="1"/>
              <c:showCatName val="0"/>
              <c:showSerName val="0"/>
              <c:showPercent val="0"/>
              <c:showBubbleSize val="0"/>
            </c:dLbl>
            <c:dLbl>
              <c:idx val="1"/>
              <c:tx>
                <c:rich>
                  <a:bodyPr/>
                  <a:lstStyle/>
                  <a:p>
                    <a:r>
                      <a:rPr>
                        <a:solidFill>
                          <a:srgbClr val="FFFFFF"/>
                        </a:solidFill>
                      </a:rPr>
                      <a:t>104.0</a:t>
                    </a:r>
                  </a:p>
                </c:rich>
              </c:tx>
              <c:showLegendKey val="0"/>
              <c:showVal val="1"/>
              <c:showCatName val="0"/>
              <c:showSerName val="0"/>
              <c:showPercent val="0"/>
              <c:showBubbleSize val="0"/>
            </c:dLbl>
            <c:dLbl>
              <c:idx val="2"/>
              <c:tx>
                <c:rich>
                  <a:bodyPr/>
                  <a:lstStyle/>
                  <a:p>
                    <a:r>
                      <a:rPr>
                        <a:solidFill>
                          <a:srgbClr val="FFFFFF"/>
                        </a:solidFill>
                      </a:rPr>
                      <a:t>3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2.531248</c:v>
                </c:pt>
                <c:pt idx="1">
                  <c:v>103.965783</c:v>
                </c:pt>
                <c:pt idx="2">
                  <c:v>34.32255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7.3</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16029</c:v>
                </c:pt>
                <c:pt idx="1">
                  <c:v>7.278161</c:v>
                </c:pt>
                <c:pt idx="2">
                  <c:v>2.07186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75121</c:v>
                </c:pt>
                <c:pt idx="1">
                  <c:v>0.439731</c:v>
                </c:pt>
                <c:pt idx="2">
                  <c:v>0.15653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401</c:v>
                </c:pt>
                <c:pt idx="1">
                  <c:v>0.088258</c:v>
                </c:pt>
                <c:pt idx="2">
                  <c:v>0.02813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9009</c:v>
                </c:pt>
                <c:pt idx="1">
                  <c:v>0.277015</c:v>
                </c:pt>
                <c:pt idx="2">
                  <c:v>0.10460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8248</c:v>
                </c:pt>
                <c:pt idx="1">
                  <c:v>0.030676</c:v>
                </c:pt>
                <c:pt idx="2">
                  <c:v>0.01070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28408</c:v>
                </c:pt>
                <c:pt idx="1">
                  <c:v>0.235927</c:v>
                </c:pt>
                <c:pt idx="2">
                  <c:v>0.08084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883</c:v>
                </c:pt>
                <c:pt idx="1">
                  <c:v>0.027171</c:v>
                </c:pt>
                <c:pt idx="2">
                  <c:v>0.00982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8675</c:v>
                </c:pt>
                <c:pt idx="1">
                  <c:v>0.025454</c:v>
                </c:pt>
                <c:pt idx="2">
                  <c:v>0.00884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14</c:v>
                </c:pt>
                <c:pt idx="1">
                  <c:v>0.003308</c:v>
                </c:pt>
                <c:pt idx="2">
                  <c:v>0.0009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83596</c:v>
                </c:pt>
                <c:pt idx="1">
                  <c:v>0.370832</c:v>
                </c:pt>
                <c:pt idx="2">
                  <c:v>0.13505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7525</c:v>
                </c:pt>
                <c:pt idx="1">
                  <c:v>0.066003</c:v>
                </c:pt>
                <c:pt idx="2">
                  <c:v>0.0232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a:solidFill>
                          <a:srgbClr val="FFFFFF"/>
                        </a:solidFill>
                      </a:rPr>
                      <a:t>1042.3</a:t>
                    </a:r>
                  </a:p>
                </c:rich>
              </c:tx>
              <c:showLegendKey val="0"/>
              <c:showVal val="1"/>
              <c:showCatName val="0"/>
              <c:showSerName val="0"/>
              <c:showPercent val="0"/>
              <c:showBubbleSize val="0"/>
            </c:dLbl>
            <c:dLbl>
              <c:idx val="1"/>
              <c:tx>
                <c:rich>
                  <a:bodyPr/>
                  <a:lstStyle/>
                  <a:p>
                    <a:r>
                      <a:rPr>
                        <a:solidFill>
                          <a:srgbClr val="FFFFFF"/>
                        </a:solidFill>
                      </a:rPr>
                      <a:t>1034.5</a:t>
                    </a:r>
                  </a:p>
                </c:rich>
              </c:tx>
              <c:showLegendKey val="0"/>
              <c:showVal val="1"/>
              <c:showCatName val="0"/>
              <c:showSerName val="0"/>
              <c:showPercent val="0"/>
              <c:showBubbleSize val="0"/>
            </c:dLbl>
            <c:dLbl>
              <c:idx val="2"/>
              <c:tx>
                <c:rich>
                  <a:bodyPr/>
                  <a:lstStyle/>
                  <a:p>
                    <a:r>
                      <a:rPr>
                        <a:solidFill>
                          <a:srgbClr val="FFFFFF"/>
                        </a:solidFill>
                      </a:rPr>
                      <a:t>36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42.280444</c:v>
                </c:pt>
                <c:pt idx="1">
                  <c:v>1034.513159</c:v>
                </c:pt>
                <c:pt idx="2">
                  <c:v>362.1189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747.4</a:t>
                    </a:r>
                  </a:p>
                </c:rich>
              </c:tx>
              <c:showLegendKey val="0"/>
              <c:showVal val="1"/>
              <c:showCatName val="0"/>
              <c:showSerName val="0"/>
              <c:showPercent val="0"/>
              <c:showBubbleSize val="0"/>
            </c:dLbl>
            <c:dLbl>
              <c:idx val="1"/>
              <c:tx>
                <c:rich>
                  <a:bodyPr/>
                  <a:lstStyle/>
                  <a:p>
                    <a:r>
                      <a:rPr>
                        <a:solidFill>
                          <a:srgbClr val="FFFFFF"/>
                        </a:solidFill>
                      </a:rPr>
                      <a:t>710.5</a:t>
                    </a:r>
                  </a:p>
                </c:rich>
              </c:tx>
              <c:showLegendKey val="0"/>
              <c:showVal val="1"/>
              <c:showCatName val="0"/>
              <c:showSerName val="0"/>
              <c:showPercent val="0"/>
              <c:showBubbleSize val="0"/>
            </c:dLbl>
            <c:dLbl>
              <c:idx val="2"/>
              <c:tx>
                <c:rich>
                  <a:bodyPr/>
                  <a:lstStyle/>
                  <a:p>
                    <a:r>
                      <a:rPr>
                        <a:solidFill>
                          <a:srgbClr val="FFFFFF"/>
                        </a:solidFill>
                      </a:rPr>
                      <a:t>25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47.438604</c:v>
                </c:pt>
                <c:pt idx="1">
                  <c:v>710.511311</c:v>
                </c:pt>
                <c:pt idx="2">
                  <c:v>257.92901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a:solidFill>
                          <a:srgbClr val="FFFFFF"/>
                        </a:solidFill>
                      </a:rPr>
                      <a:t>537.1</a:t>
                    </a:r>
                  </a:p>
                </c:rich>
              </c:tx>
              <c:showLegendKey val="0"/>
              <c:showVal val="1"/>
              <c:showCatName val="0"/>
              <c:showSerName val="0"/>
              <c:showPercent val="0"/>
              <c:showBubbleSize val="0"/>
            </c:dLbl>
            <c:dLbl>
              <c:idx val="1"/>
              <c:tx>
                <c:rich>
                  <a:bodyPr/>
                  <a:lstStyle/>
                  <a:p>
                    <a:r>
                      <a:rPr>
                        <a:solidFill>
                          <a:srgbClr val="FFFFFF"/>
                        </a:solidFill>
                      </a:rPr>
                      <a:t>564.5</a:t>
                    </a:r>
                  </a:p>
                </c:rich>
              </c:tx>
              <c:showLegendKey val="0"/>
              <c:showVal val="1"/>
              <c:showCatName val="0"/>
              <c:showSerName val="0"/>
              <c:showPercent val="0"/>
              <c:showBubbleSize val="0"/>
            </c:dLbl>
            <c:dLbl>
              <c:idx val="2"/>
              <c:tx>
                <c:rich>
                  <a:bodyPr/>
                  <a:lstStyle/>
                  <a:p>
                    <a:r>
                      <a:rPr>
                        <a:solidFill>
                          <a:srgbClr val="FFFFFF"/>
                        </a:solidFill>
                      </a:rPr>
                      <a:t>19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37.053378</c:v>
                </c:pt>
                <c:pt idx="1">
                  <c:v>564.465043</c:v>
                </c:pt>
                <c:pt idx="2">
                  <c:v>190.28730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a:solidFill>
                          <a:srgbClr val="FFFFFF"/>
                        </a:solidFill>
                      </a:rPr>
                      <a:t>368.4</a:t>
                    </a:r>
                  </a:p>
                </c:rich>
              </c:tx>
              <c:showLegendKey val="0"/>
              <c:showVal val="1"/>
              <c:showCatName val="0"/>
              <c:showSerName val="0"/>
              <c:showPercent val="0"/>
              <c:showBubbleSize val="0"/>
            </c:dLbl>
            <c:dLbl>
              <c:idx val="1"/>
              <c:tx>
                <c:rich>
                  <a:bodyPr/>
                  <a:lstStyle/>
                  <a:p>
                    <a:r>
                      <a:rPr>
                        <a:solidFill>
                          <a:srgbClr val="FFFFFF"/>
                        </a:solidFill>
                      </a:rPr>
                      <a:t>474.9</a:t>
                    </a:r>
                  </a:p>
                </c:rich>
              </c:tx>
              <c:showLegendKey val="0"/>
              <c:showVal val="1"/>
              <c:showCatName val="0"/>
              <c:showSerName val="0"/>
              <c:showPercent val="0"/>
              <c:showBubbleSize val="0"/>
            </c:dLbl>
            <c:dLbl>
              <c:idx val="2"/>
              <c:tx>
                <c:rich>
                  <a:bodyPr/>
                  <a:lstStyle/>
                  <a:p>
                    <a:r>
                      <a:rPr>
                        <a:solidFill>
                          <a:srgbClr val="FFFFFF"/>
                        </a:solidFill>
                      </a:rPr>
                      <a:t>17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68.368001</c:v>
                </c:pt>
                <c:pt idx="1">
                  <c:v>474.878519</c:v>
                </c:pt>
                <c:pt idx="2">
                  <c:v>172.68317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tx>
                <c:rich>
                  <a:bodyPr/>
                  <a:lstStyle/>
                  <a:p>
                    <a:r>
                      <a:rPr>
                        <a:solidFill>
                          <a:srgbClr val="FFFFFF"/>
                        </a:solidFill>
                      </a:rPr>
                      <a:t>211.3</a:t>
                    </a:r>
                  </a:p>
                </c:rich>
              </c:tx>
              <c:showLegendKey val="0"/>
              <c:showVal val="1"/>
              <c:showCatName val="0"/>
              <c:showSerName val="0"/>
              <c:showPercent val="0"/>
              <c:showBubbleSize val="0"/>
            </c:dLbl>
            <c:dLbl>
              <c:idx val="1"/>
              <c:tx>
                <c:rich>
                  <a:bodyPr/>
                  <a:lstStyle/>
                  <a:p>
                    <a:r>
                      <a:rPr>
                        <a:solidFill>
                          <a:srgbClr val="FFFFFF"/>
                        </a:solidFill>
                      </a:rPr>
                      <a:t>234.2</a:t>
                    </a:r>
                  </a:p>
                </c:rich>
              </c:tx>
              <c:showLegendKey val="0"/>
              <c:showVal val="1"/>
              <c:showCatName val="0"/>
              <c:showSerName val="0"/>
              <c:showPercent val="0"/>
              <c:showBubbleSize val="0"/>
            </c:dLbl>
            <c:dLbl>
              <c:idx val="2"/>
              <c:tx>
                <c:rich>
                  <a:bodyPr/>
                  <a:lstStyle/>
                  <a:p>
                    <a:r>
                      <a:rPr>
                        <a:solidFill>
                          <a:srgbClr val="FFFFFF"/>
                        </a:solidFill>
                      </a:rPr>
                      <a:t>6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11.275583</c:v>
                </c:pt>
                <c:pt idx="1">
                  <c:v>234.177727</c:v>
                </c:pt>
                <c:pt idx="2">
                  <c:v>68.91434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tx>
                <c:rich>
                  <a:bodyPr/>
                  <a:lstStyle/>
                  <a:p>
                    <a:r>
                      <a:rPr>
                        <a:solidFill>
                          <a:srgbClr val="FFFFFF"/>
                        </a:solidFill>
                      </a:rPr>
                      <a:t>88.0</a:t>
                    </a:r>
                  </a:p>
                </c:rich>
              </c:tx>
              <c:showLegendKey val="0"/>
              <c:showVal val="1"/>
              <c:showCatName val="0"/>
              <c:showSerName val="0"/>
              <c:showPercent val="0"/>
              <c:showBubbleSize val="0"/>
            </c:dLbl>
            <c:dLbl>
              <c:idx val="1"/>
              <c:tx>
                <c:rich>
                  <a:bodyPr/>
                  <a:lstStyle/>
                  <a:p>
                    <a:r>
                      <a:rPr>
                        <a:solidFill>
                          <a:srgbClr val="FFFFFF"/>
                        </a:solidFill>
                      </a:rPr>
                      <a:t>158.6</a:t>
                    </a:r>
                  </a:p>
                </c:rich>
              </c:tx>
              <c:showLegendKey val="0"/>
              <c:showVal val="1"/>
              <c:showCatName val="0"/>
              <c:showSerName val="0"/>
              <c:showPercent val="0"/>
              <c:showBubbleSize val="0"/>
            </c:dLbl>
            <c:dLbl>
              <c:idx val="2"/>
              <c:tx>
                <c:rich>
                  <a:bodyPr/>
                  <a:lstStyle/>
                  <a:p>
                    <a:r>
                      <a:rPr>
                        <a:solidFill>
                          <a:srgbClr val="FFFFFF"/>
                        </a:solidFill>
                      </a:rPr>
                      <a:t>5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7.95029</c:v>
                </c:pt>
                <c:pt idx="1">
                  <c:v>158.555201</c:v>
                </c:pt>
                <c:pt idx="2">
                  <c:v>55.94554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tx>
                <c:rich>
                  <a:bodyPr/>
                  <a:lstStyle/>
                  <a:p>
                    <a:r>
                      <a:rPr>
                        <a:solidFill>
                          <a:srgbClr val="FFFFFF"/>
                        </a:solidFill>
                      </a:rPr>
                      <a:t>113.4</a:t>
                    </a:r>
                  </a:p>
                </c:rich>
              </c:tx>
              <c:showLegendKey val="0"/>
              <c:showVal val="1"/>
              <c:showCatName val="0"/>
              <c:showSerName val="0"/>
              <c:showPercent val="0"/>
              <c:showBubbleSize val="0"/>
            </c:dLbl>
            <c:dLbl>
              <c:idx val="1"/>
              <c:tx>
                <c:rich>
                  <a:bodyPr/>
                  <a:lstStyle/>
                  <a:p>
                    <a:r>
                      <a:rPr>
                        <a:solidFill>
                          <a:srgbClr val="FFFFFF"/>
                        </a:solidFill>
                      </a:rPr>
                      <a:t>116.0</a:t>
                    </a:r>
                  </a:p>
                </c:rich>
              </c:tx>
              <c:showLegendKey val="0"/>
              <c:showVal val="1"/>
              <c:showCatName val="0"/>
              <c:showSerName val="0"/>
              <c:showPercent val="0"/>
              <c:showBubbleSize val="0"/>
            </c:dLbl>
            <c:dLbl>
              <c:idx val="2"/>
              <c:tx>
                <c:rich>
                  <a:bodyPr/>
                  <a:lstStyle/>
                  <a:p>
                    <a:r>
                      <a:rPr>
                        <a:solidFill>
                          <a:srgbClr val="FFFFFF"/>
                        </a:solidFill>
                      </a:rPr>
                      <a:t>4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13.381462</c:v>
                </c:pt>
                <c:pt idx="1">
                  <c:v>115.976162</c:v>
                </c:pt>
                <c:pt idx="2">
                  <c:v>40.99929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tx>
                <c:rich>
                  <a:bodyPr/>
                  <a:lstStyle/>
                  <a:p>
                    <a:r>
                      <a:rPr>
                        <a:solidFill>
                          <a:srgbClr val="FFFFFF"/>
                        </a:solidFill>
                      </a:rPr>
                      <a:t>86.4</a:t>
                    </a:r>
                  </a:p>
                </c:rich>
              </c:tx>
              <c:showLegendKey val="0"/>
              <c:showVal val="1"/>
              <c:showCatName val="0"/>
              <c:showSerName val="0"/>
              <c:showPercent val="0"/>
              <c:showBubbleSize val="0"/>
            </c:dLbl>
            <c:dLbl>
              <c:idx val="1"/>
              <c:tx>
                <c:rich>
                  <a:bodyPr/>
                  <a:lstStyle/>
                  <a:p>
                    <a:r>
                      <a:rPr>
                        <a:solidFill>
                          <a:srgbClr val="FFFFFF"/>
                        </a:solidFill>
                      </a:rPr>
                      <a:t>105.9</a:t>
                    </a:r>
                  </a:p>
                </c:rich>
              </c:tx>
              <c:showLegendKey val="0"/>
              <c:showVal val="1"/>
              <c:showCatName val="0"/>
              <c:showSerName val="0"/>
              <c:showPercent val="0"/>
              <c:showBubbleSize val="0"/>
            </c:dLbl>
            <c:dLbl>
              <c:idx val="2"/>
              <c:tx>
                <c:rich>
                  <a:bodyPr/>
                  <a:lstStyle/>
                  <a:p>
                    <a:r>
                      <a:rPr>
                        <a:solidFill>
                          <a:srgbClr val="FFFFFF"/>
                        </a:solidFill>
                      </a:rPr>
                      <a:t>3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86.396024</c:v>
                </c:pt>
                <c:pt idx="1">
                  <c:v>105.933819</c:v>
                </c:pt>
                <c:pt idx="2">
                  <c:v>37.57664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a:solidFill>
                          <a:srgbClr val="FFFFFF"/>
                        </a:solidFill>
                      </a:rPr>
                      <a:t>114.2</a:t>
                    </a:r>
                  </a:p>
                </c:rich>
              </c:tx>
              <c:showLegendKey val="0"/>
              <c:showVal val="1"/>
              <c:showCatName val="0"/>
              <c:showSerName val="0"/>
              <c:showPercent val="0"/>
              <c:showBubbleSize val="0"/>
            </c:dLbl>
            <c:dLbl>
              <c:idx val="1"/>
              <c:tx>
                <c:rich>
                  <a:bodyPr/>
                  <a:lstStyle/>
                  <a:p>
                    <a:r>
                      <a:rPr>
                        <a:solidFill>
                          <a:srgbClr val="FFFFFF"/>
                        </a:solidFill>
                      </a:rPr>
                      <a:t>85.6</a:t>
                    </a:r>
                  </a:p>
                </c:rich>
              </c:tx>
              <c:showLegendKey val="0"/>
              <c:showVal val="1"/>
              <c:showCatName val="0"/>
              <c:showSerName val="0"/>
              <c:showPercent val="0"/>
              <c:showBubbleSize val="0"/>
            </c:dLbl>
            <c:dLbl>
              <c:idx val="2"/>
              <c:tx>
                <c:rich>
                  <a:bodyPr/>
                  <a:lstStyle/>
                  <a:p>
                    <a:r>
                      <a:rPr>
                        <a:solidFill>
                          <a:srgbClr val="FFFFFF"/>
                        </a:solidFill>
                      </a:rPr>
                      <a:t>2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14.183825</c:v>
                </c:pt>
                <c:pt idx="1">
                  <c:v>85.649671</c:v>
                </c:pt>
                <c:pt idx="2">
                  <c:v>27.792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57.7</a:t>
                    </a:r>
                  </a:p>
                </c:rich>
              </c:tx>
              <c:showLegendKey val="0"/>
              <c:showVal val="1"/>
              <c:showCatName val="0"/>
              <c:showSerName val="0"/>
              <c:showPercent val="0"/>
              <c:showBubbleSize val="0"/>
            </c:dLbl>
            <c:dLbl>
              <c:idx val="1"/>
              <c:tx>
                <c:rich>
                  <a:bodyPr/>
                  <a:lstStyle/>
                  <a:p>
                    <a:r>
                      <a:rPr>
                        <a:solidFill>
                          <a:srgbClr val="FFFFFF"/>
                        </a:solidFill>
                      </a:rPr>
                      <a:t>321.7</a:t>
                    </a:r>
                  </a:p>
                </c:rich>
              </c:tx>
              <c:showLegendKey val="0"/>
              <c:showVal val="1"/>
              <c:showCatName val="0"/>
              <c:showSerName val="0"/>
              <c:showPercent val="0"/>
              <c:showBubbleSize val="0"/>
            </c:dLbl>
            <c:dLbl>
              <c:idx val="2"/>
              <c:tx>
                <c:rich>
                  <a:bodyPr/>
                  <a:lstStyle/>
                  <a:p>
                    <a:r>
                      <a:rPr>
                        <a:solidFill>
                          <a:srgbClr val="FFFFFF"/>
                        </a:solidFill>
                      </a:rPr>
                      <a:t>12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57.72626</c:v>
                </c:pt>
                <c:pt idx="1">
                  <c:v>321.726231</c:v>
                </c:pt>
                <c:pt idx="2">
                  <c:v>120.7938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a:solidFill>
                          <a:srgbClr val="FFFFFF"/>
                        </a:solidFill>
                      </a:rPr>
                      <a:t>795.5</a:t>
                    </a:r>
                  </a:p>
                </c:rich>
              </c:tx>
              <c:showLegendKey val="0"/>
              <c:showVal val="1"/>
              <c:showCatName val="0"/>
              <c:showSerName val="0"/>
              <c:showPercent val="0"/>
              <c:showBubbleSize val="0"/>
            </c:dLbl>
            <c:dLbl>
              <c:idx val="1"/>
              <c:tx>
                <c:rich>
                  <a:bodyPr/>
                  <a:lstStyle/>
                  <a:p>
                    <a:r>
                      <a:rPr>
                        <a:solidFill>
                          <a:srgbClr val="FFFFFF"/>
                        </a:solidFill>
                      </a:rPr>
                      <a:t>759.0</a:t>
                    </a:r>
                  </a:p>
                </c:rich>
              </c:tx>
              <c:showLegendKey val="0"/>
              <c:showVal val="1"/>
              <c:showCatName val="0"/>
              <c:showSerName val="0"/>
              <c:showPercent val="0"/>
              <c:showBubbleSize val="0"/>
            </c:dLbl>
            <c:dLbl>
              <c:idx val="2"/>
              <c:tx>
                <c:rich>
                  <a:bodyPr/>
                  <a:lstStyle/>
                  <a:p>
                    <a:r>
                      <a:rPr>
                        <a:solidFill>
                          <a:srgbClr val="FFFFFF"/>
                        </a:solidFill>
                      </a:rPr>
                      <a:t>26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95.506241</c:v>
                </c:pt>
                <c:pt idx="1">
                  <c:v>759.020762</c:v>
                </c:pt>
                <c:pt idx="2">
                  <c:v>265.2118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sdin</c:v>
                </c:pt>
              </c:strCache>
            </c:strRef>
          </c:tx>
          <c:spPr>
            <a:solidFill>
              <a:srgbClr val="A6A6A6"/>
            </a:solidFill>
            <a:ln>
              <a:solidFill>
                <a:schemeClr val="bg1"/>
              </a:solidFill>
            </a:ln>
            <a:effectLst/>
          </c:spPr>
          <c:invertIfNegative val="0"/>
          <c:dLbls>
            <c:dLbl>
              <c:idx val="0"/>
              <c:tx>
                <c:rich>
                  <a:bodyPr/>
                  <a:lstStyle/>
                  <a:p>
                    <a:r>
                      <a:rPr>
                        <a:solidFill>
                          <a:srgbClr val="FFFFFF"/>
                        </a:solidFill>
                      </a:rPr>
                      <a:t>537.1</a:t>
                    </a:r>
                  </a:p>
                </c:rich>
              </c:tx>
              <c:showLegendKey val="0"/>
              <c:showVal val="1"/>
              <c:showCatName val="0"/>
              <c:showSerName val="0"/>
              <c:showPercent val="0"/>
              <c:showBubbleSize val="0"/>
            </c:dLbl>
            <c:dLbl>
              <c:idx val="1"/>
              <c:tx>
                <c:rich>
                  <a:bodyPr/>
                  <a:lstStyle/>
                  <a:p>
                    <a:r>
                      <a:rPr>
                        <a:solidFill>
                          <a:srgbClr val="FFFFFF"/>
                        </a:solidFill>
                      </a:rPr>
                      <a:t>564.5</a:t>
                    </a:r>
                  </a:p>
                </c:rich>
              </c:tx>
              <c:showLegendKey val="0"/>
              <c:showVal val="1"/>
              <c:showCatName val="0"/>
              <c:showSerName val="0"/>
              <c:showPercent val="0"/>
              <c:showBubbleSize val="0"/>
            </c:dLbl>
            <c:dLbl>
              <c:idx val="2"/>
              <c:tx>
                <c:rich>
                  <a:bodyPr/>
                  <a:lstStyle/>
                  <a:p>
                    <a:r>
                      <a:rPr>
                        <a:solidFill>
                          <a:srgbClr val="FFFFFF"/>
                        </a:solidFill>
                      </a:rPr>
                      <a:t>19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37.053378</c:v>
                </c:pt>
                <c:pt idx="1">
                  <c:v>564.465043</c:v>
                </c:pt>
                <c:pt idx="2">
                  <c:v>190.28730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waiian Tropic</c:v>
                </c:pt>
              </c:strCache>
            </c:strRef>
          </c:tx>
          <c:spPr>
            <a:solidFill>
              <a:srgbClr val="00A097"/>
            </a:solidFill>
            <a:ln>
              <a:solidFill>
                <a:schemeClr val="bg1"/>
              </a:solidFill>
            </a:ln>
            <a:effectLst/>
          </c:spPr>
          <c:invertIfNegative val="0"/>
          <c:dLbls>
            <c:dLbl>
              <c:idx val="0"/>
              <c:tx>
                <c:rich>
                  <a:bodyPr/>
                  <a:lstStyle/>
                  <a:p>
                    <a:r>
                      <a:rPr>
                        <a:solidFill>
                          <a:srgbClr val="FFFFFF"/>
                        </a:solidFill>
                      </a:rPr>
                      <a:t>343.3</a:t>
                    </a:r>
                  </a:p>
                </c:rich>
              </c:tx>
              <c:showLegendKey val="0"/>
              <c:showVal val="1"/>
              <c:showCatName val="0"/>
              <c:showSerName val="0"/>
              <c:showPercent val="0"/>
              <c:showBubbleSize val="0"/>
            </c:dLbl>
            <c:dLbl>
              <c:idx val="1"/>
              <c:tx>
                <c:rich>
                  <a:bodyPr/>
                  <a:lstStyle/>
                  <a:p>
                    <a:r>
                      <a:rPr>
                        <a:solidFill>
                          <a:srgbClr val="FFFFFF"/>
                        </a:solidFill>
                      </a:rPr>
                      <a:t>336.5</a:t>
                    </a:r>
                  </a:p>
                </c:rich>
              </c:tx>
              <c:showLegendKey val="0"/>
              <c:showVal val="1"/>
              <c:showCatName val="0"/>
              <c:showSerName val="0"/>
              <c:showPercent val="0"/>
              <c:showBubbleSize val="0"/>
            </c:dLbl>
            <c:dLbl>
              <c:idx val="2"/>
              <c:tx>
                <c:rich>
                  <a:bodyPr/>
                  <a:lstStyle/>
                  <a:p>
                    <a:r>
                      <a:rPr>
                        <a:solidFill>
                          <a:srgbClr val="FFFFFF"/>
                        </a:solidFill>
                      </a:rPr>
                      <a:t>12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43.346006</c:v>
                </c:pt>
                <c:pt idx="1">
                  <c:v>336.549846</c:v>
                </c:pt>
                <c:pt idx="2">
                  <c:v>128.51861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 Roche-Posay</c:v>
                </c:pt>
              </c:strCache>
            </c:strRef>
          </c:tx>
          <c:spPr>
            <a:solidFill>
              <a:srgbClr val="7F7F7F"/>
            </a:solidFill>
            <a:ln>
              <a:solidFill>
                <a:schemeClr val="bg1"/>
              </a:solidFill>
            </a:ln>
            <a:effectLst/>
          </c:spPr>
          <c:invertIfNegative val="0"/>
          <c:dLbls>
            <c:dLbl>
              <c:idx val="0"/>
              <c:tx>
                <c:rich>
                  <a:bodyPr/>
                  <a:lstStyle/>
                  <a:p>
                    <a:r>
                      <a:rPr>
                        <a:solidFill>
                          <a:srgbClr val="FFFFFF"/>
                        </a:solidFill>
                      </a:rPr>
                      <a:t>289.1</a:t>
                    </a:r>
                  </a:p>
                </c:rich>
              </c:tx>
              <c:showLegendKey val="0"/>
              <c:showVal val="1"/>
              <c:showCatName val="0"/>
              <c:showSerName val="0"/>
              <c:showPercent val="0"/>
              <c:showBubbleSize val="0"/>
            </c:dLbl>
            <c:dLbl>
              <c:idx val="1"/>
              <c:tx>
                <c:rich>
                  <a:bodyPr/>
                  <a:lstStyle/>
                  <a:p>
                    <a:r>
                      <a:rPr>
                        <a:solidFill>
                          <a:srgbClr val="FFFFFF"/>
                        </a:solidFill>
                      </a:rPr>
                      <a:t>337.4</a:t>
                    </a:r>
                  </a:p>
                </c:rich>
              </c:tx>
              <c:showLegendKey val="0"/>
              <c:showVal val="1"/>
              <c:showCatName val="0"/>
              <c:showSerName val="0"/>
              <c:showPercent val="0"/>
              <c:showBubbleSize val="0"/>
            </c:dLbl>
            <c:dLbl>
              <c:idx val="2"/>
              <c:tx>
                <c:rich>
                  <a:bodyPr/>
                  <a:lstStyle/>
                  <a:p>
                    <a:r>
                      <a:rPr>
                        <a:solidFill>
                          <a:srgbClr val="FFFFFF"/>
                        </a:solidFill>
                      </a:rPr>
                      <a:t>1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89.103278</c:v>
                </c:pt>
                <c:pt idx="1">
                  <c:v>337.375438</c:v>
                </c:pt>
                <c:pt idx="2">
                  <c:v>113.86201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anana Boat</c:v>
                </c:pt>
              </c:strCache>
            </c:strRef>
          </c:tx>
          <c:spPr>
            <a:solidFill>
              <a:srgbClr val="99C7C5"/>
            </a:solidFill>
            <a:ln>
              <a:solidFill>
                <a:schemeClr val="bg1"/>
              </a:solidFill>
            </a:ln>
            <a:effectLst/>
          </c:spPr>
          <c:invertIfNegative val="0"/>
          <c:dLbls>
            <c:dLbl>
              <c:idx val="0"/>
              <c:tx>
                <c:rich>
                  <a:bodyPr/>
                  <a:lstStyle/>
                  <a:p>
                    <a:r>
                      <a:rPr>
                        <a:solidFill>
                          <a:srgbClr val="FFFFFF"/>
                        </a:solidFill>
                      </a:rPr>
                      <a:t>325.2</a:t>
                    </a:r>
                  </a:p>
                </c:rich>
              </c:tx>
              <c:showLegendKey val="0"/>
              <c:showVal val="1"/>
              <c:showCatName val="0"/>
              <c:showSerName val="0"/>
              <c:showPercent val="0"/>
              <c:showBubbleSize val="0"/>
            </c:dLbl>
            <c:dLbl>
              <c:idx val="1"/>
              <c:tx>
                <c:rich>
                  <a:bodyPr/>
                  <a:lstStyle/>
                  <a:p>
                    <a:r>
                      <a:rPr>
                        <a:solidFill>
                          <a:srgbClr val="FFFFFF"/>
                        </a:solidFill>
                      </a:rPr>
                      <a:t>297.7</a:t>
                    </a:r>
                  </a:p>
                </c:rich>
              </c:tx>
              <c:showLegendKey val="0"/>
              <c:showVal val="1"/>
              <c:showCatName val="0"/>
              <c:showSerName val="0"/>
              <c:showPercent val="0"/>
              <c:showBubbleSize val="0"/>
            </c:dLbl>
            <c:dLbl>
              <c:idx val="2"/>
              <c:tx>
                <c:rich>
                  <a:bodyPr/>
                  <a:lstStyle/>
                  <a:p>
                    <a:r>
                      <a:rPr>
                        <a:solidFill>
                          <a:srgbClr val="FFFFFF"/>
                        </a:solidFill>
                      </a:rPr>
                      <a:t>10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25.154261</c:v>
                </c:pt>
                <c:pt idx="1">
                  <c:v>297.679303</c:v>
                </c:pt>
                <c:pt idx="2">
                  <c:v>102.67864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ucerin</c:v>
                </c:pt>
              </c:strCache>
            </c:strRef>
          </c:tx>
          <c:spPr>
            <a:solidFill>
              <a:srgbClr val="575555"/>
            </a:solidFill>
            <a:ln>
              <a:solidFill>
                <a:schemeClr val="bg1"/>
              </a:solidFill>
            </a:ln>
            <a:effectLst/>
          </c:spPr>
          <c:invertIfNegative val="0"/>
          <c:dLbls>
            <c:dLbl>
              <c:idx val="0"/>
              <c:tx>
                <c:rich>
                  <a:bodyPr/>
                  <a:lstStyle/>
                  <a:p>
                    <a:r>
                      <a:rPr>
                        <a:solidFill>
                          <a:srgbClr val="FFFFFF"/>
                        </a:solidFill>
                      </a:rPr>
                      <a:t>228.9</a:t>
                    </a:r>
                  </a:p>
                </c:rich>
              </c:tx>
              <c:showLegendKey val="0"/>
              <c:showVal val="1"/>
              <c:showCatName val="0"/>
              <c:showSerName val="0"/>
              <c:showPercent val="0"/>
              <c:showBubbleSize val="0"/>
            </c:dLbl>
            <c:dLbl>
              <c:idx val="1"/>
              <c:tx>
                <c:rich>
                  <a:bodyPr/>
                  <a:lstStyle/>
                  <a:p>
                    <a:r>
                      <a:rPr>
                        <a:solidFill>
                          <a:srgbClr val="FFFFFF"/>
                        </a:solidFill>
                      </a:rPr>
                      <a:t>255.3</a:t>
                    </a:r>
                  </a:p>
                </c:rich>
              </c:tx>
              <c:showLegendKey val="0"/>
              <c:showVal val="1"/>
              <c:showCatName val="0"/>
              <c:showSerName val="0"/>
              <c:showPercent val="0"/>
              <c:showBubbleSize val="0"/>
            </c:dLbl>
            <c:dLbl>
              <c:idx val="2"/>
              <c:tx>
                <c:rich>
                  <a:bodyPr/>
                  <a:lstStyle/>
                  <a:p>
                    <a:r>
                      <a:rPr>
                        <a:solidFill>
                          <a:srgbClr val="FFFFFF"/>
                        </a:solidFill>
                      </a:rPr>
                      <a:t>9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28.927661</c:v>
                </c:pt>
                <c:pt idx="1">
                  <c:v>255.344461</c:v>
                </c:pt>
                <c:pt idx="2">
                  <c:v>90.30449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vene</c:v>
                </c:pt>
              </c:strCache>
            </c:strRef>
          </c:tx>
          <c:spPr>
            <a:solidFill>
              <a:srgbClr val="575555"/>
            </a:solidFill>
            <a:ln>
              <a:solidFill>
                <a:schemeClr val="bg1"/>
              </a:solidFill>
            </a:ln>
            <a:effectLst/>
          </c:spPr>
          <c:invertIfNegative val="0"/>
          <c:dLbls>
            <c:dLbl>
              <c:idx val="0"/>
              <c:tx>
                <c:rich>
                  <a:bodyPr/>
                  <a:lstStyle/>
                  <a:p>
                    <a:r>
                      <a:rPr>
                        <a:solidFill>
                          <a:srgbClr val="FFFFFF"/>
                        </a:solidFill>
                      </a:rPr>
                      <a:t>204.1</a:t>
                    </a:r>
                  </a:p>
                </c:rich>
              </c:tx>
              <c:showLegendKey val="0"/>
              <c:showVal val="1"/>
              <c:showCatName val="0"/>
              <c:showSerName val="0"/>
              <c:showPercent val="0"/>
              <c:showBubbleSize val="0"/>
            </c:dLbl>
            <c:dLbl>
              <c:idx val="1"/>
              <c:tx>
                <c:rich>
                  <a:bodyPr/>
                  <a:lstStyle/>
                  <a:p>
                    <a:r>
                      <a:rPr>
                        <a:solidFill>
                          <a:srgbClr val="FFFFFF"/>
                        </a:solidFill>
                      </a:rPr>
                      <a:t>198.9</a:t>
                    </a:r>
                  </a:p>
                </c:rich>
              </c:tx>
              <c:showLegendKey val="0"/>
              <c:showVal val="1"/>
              <c:showCatName val="0"/>
              <c:showSerName val="0"/>
              <c:showPercent val="0"/>
              <c:showBubbleSize val="0"/>
            </c:dLbl>
            <c:dLbl>
              <c:idx val="2"/>
              <c:tx>
                <c:rich>
                  <a:bodyPr/>
                  <a:lstStyle/>
                  <a:p>
                    <a:r>
                      <a:rPr>
                        <a:solidFill>
                          <a:srgbClr val="FFFFFF"/>
                        </a:solidFill>
                      </a:rPr>
                      <a:t>6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04.087358</c:v>
                </c:pt>
                <c:pt idx="1">
                  <c:v>198.861871</c:v>
                </c:pt>
                <c:pt idx="2">
                  <c:v>66.84334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530003</c:v>
                </c:pt>
                <c:pt idx="1">
                  <c:v>13.606246</c:v>
                </c:pt>
                <c:pt idx="2">
                  <c:v>4.03917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695.3</a:t>
                    </a:r>
                  </a:p>
                </c:rich>
              </c:tx>
              <c:showLegendKey val="0"/>
              <c:showVal val="1"/>
              <c:showCatName val="0"/>
              <c:showSerName val="0"/>
              <c:showPercent val="0"/>
              <c:showBubbleSize val="0"/>
            </c:dLbl>
            <c:dLbl>
              <c:idx val="1"/>
              <c:tx>
                <c:rich>
                  <a:bodyPr/>
                  <a:lstStyle/>
                  <a:p>
                    <a:r>
                      <a:rPr>
                        <a:solidFill>
                          <a:srgbClr val="FFFFFF"/>
                        </a:solidFill>
                      </a:rPr>
                      <a:t>865.3</a:t>
                    </a:r>
                  </a:p>
                </c:rich>
              </c:tx>
              <c:showLegendKey val="0"/>
              <c:showVal val="1"/>
              <c:showCatName val="0"/>
              <c:showSerName val="0"/>
              <c:showPercent val="0"/>
              <c:showBubbleSize val="0"/>
            </c:dLbl>
            <c:dLbl>
              <c:idx val="2"/>
              <c:tx>
                <c:rich>
                  <a:bodyPr/>
                  <a:lstStyle/>
                  <a:p>
                    <a:r>
                      <a:rPr>
                        <a:solidFill>
                          <a:srgbClr val="FFFFFF"/>
                        </a:solidFill>
                      </a:rPr>
                      <a:t>32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695.318705</c:v>
                </c:pt>
                <c:pt idx="1">
                  <c:v>865.328554</c:v>
                </c:pt>
                <c:pt idx="2">
                  <c:v>329.84410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a:solidFill>
                          <a:srgbClr val="FFFFFF"/>
                        </a:solidFill>
                      </a:rPr>
                      <a:t>101.9</a:t>
                    </a:r>
                  </a:p>
                </c:rich>
              </c:tx>
              <c:showLegendKey val="0"/>
              <c:showVal val="1"/>
              <c:showCatName val="0"/>
              <c:showSerName val="0"/>
              <c:showPercent val="0"/>
              <c:showBubbleSize val="0"/>
            </c:dLbl>
            <c:dLbl>
              <c:idx val="1"/>
              <c:tx>
                <c:rich>
                  <a:bodyPr/>
                  <a:lstStyle/>
                  <a:p>
                    <a:r>
                      <a:rPr>
                        <a:solidFill>
                          <a:srgbClr val="FFFFFF"/>
                        </a:solidFill>
                      </a:rPr>
                      <a:t>157.9</a:t>
                    </a:r>
                  </a:p>
                </c:rich>
              </c:tx>
              <c:showLegendKey val="0"/>
              <c:showVal val="1"/>
              <c:showCatName val="0"/>
              <c:showSerName val="0"/>
              <c:showPercent val="0"/>
              <c:showBubbleSize val="0"/>
            </c:dLbl>
            <c:dLbl>
              <c:idx val="2"/>
              <c:tx>
                <c:rich>
                  <a:bodyPr/>
                  <a:lstStyle/>
                  <a:p>
                    <a:r>
                      <a:rPr>
                        <a:solidFill>
                          <a:srgbClr val="FFFFFF"/>
                        </a:solidFill>
                      </a:rPr>
                      <a:t>6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1.870124</c:v>
                </c:pt>
                <c:pt idx="1">
                  <c:v>157.876835</c:v>
                </c:pt>
                <c:pt idx="2">
                  <c:v>60.9932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669</c:v>
                </c:pt>
                <c:pt idx="1">
                  <c:v>0.005764</c:v>
                </c:pt>
                <c:pt idx="2">
                  <c:v>0.0012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293</c:v>
                </c:pt>
                <c:pt idx="1">
                  <c:v>0.001892</c:v>
                </c:pt>
                <c:pt idx="2">
                  <c:v>0.0001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uve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848</c:v>
                </c:pt>
                <c:pt idx="1">
                  <c:v>0.001607</c:v>
                </c:pt>
                <c:pt idx="2">
                  <c:v>0.0002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ribbean Beach</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561</c:v>
                </c:pt>
                <c:pt idx="1">
                  <c:v>0.002229</c:v>
                </c:pt>
                <c:pt idx="2">
                  <c:v>0.00033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374</c:v>
                </c:pt>
                <c:pt idx="1">
                  <c:v>0.000428</c:v>
                </c:pt>
                <c:pt idx="2">
                  <c:v>0.0001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awaiian Tropic</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136</c:v>
                </c:pt>
                <c:pt idx="1">
                  <c:v>0.000827</c:v>
                </c:pt>
                <c:pt idx="2">
                  <c:v>0.00041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ucer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2</c:v>
                </c:pt>
                <c:pt idx="1">
                  <c:v>0.0</c:v>
                </c:pt>
                <c:pt idx="2">
                  <c:v>6e-0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8e-05</c:v>
                </c:pt>
                <c:pt idx="1">
                  <c:v>3e-06</c:v>
                </c:pt>
                <c:pt idx="2">
                  <c:v>0.0</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5855</c:v>
                </c:pt>
                <c:pt idx="1">
                  <c:v>0.007932</c:v>
                </c:pt>
                <c:pt idx="2">
                  <c:v>0.0028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a:solidFill>
                          <a:srgbClr val="FFFFFF"/>
                        </a:solidFill>
                      </a:rPr>
                      <a:t>10.6</a:t>
                    </a:r>
                  </a:p>
                </c:rich>
              </c:tx>
              <c:showLegendKey val="0"/>
              <c:showVal val="1"/>
              <c:showCatName val="0"/>
              <c:showSerName val="0"/>
              <c:showPercent val="0"/>
              <c:showBubbleSize val="0"/>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63326</c:v>
                </c:pt>
                <c:pt idx="1">
                  <c:v>9.440681</c:v>
                </c:pt>
                <c:pt idx="2">
                  <c:v>2.1716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6.2</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243464</c:v>
                </c:pt>
                <c:pt idx="1">
                  <c:v>2.172986</c:v>
                </c:pt>
                <c:pt idx="2">
                  <c:v>0.22672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uvel</c:v>
                </c:pt>
              </c:strCache>
            </c:strRef>
          </c:tx>
          <c:spPr>
            <a:solidFill>
              <a:srgbClr val="9B9898"/>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348921</c:v>
                </c:pt>
                <c:pt idx="1">
                  <c:v>1.343348</c:v>
                </c:pt>
                <c:pt idx="2">
                  <c:v>0.1634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ribbean Beach</c:v>
                </c:pt>
              </c:strCache>
            </c:strRef>
          </c:tx>
          <c:spPr>
            <a:solidFill>
              <a:srgbClr val="7F7F7F"/>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59182</c:v>
                </c:pt>
                <c:pt idx="1">
                  <c:v>1.393808</c:v>
                </c:pt>
                <c:pt idx="2">
                  <c:v>0.23919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92058</c:v>
                </c:pt>
                <c:pt idx="1">
                  <c:v>1.828028</c:v>
                </c:pt>
                <c:pt idx="2">
                  <c:v>1.09209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awaiian Tropic</c:v>
                </c:pt>
              </c:strCache>
            </c:strRef>
          </c:tx>
          <c:spPr>
            <a:solidFill>
              <a:srgbClr val="B2DFDC"/>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616703</c:v>
                </c:pt>
                <c:pt idx="1">
                  <c:v>0.87072</c:v>
                </c:pt>
                <c:pt idx="2">
                  <c:v>0.4535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ucerin</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554317</c:v>
                </c:pt>
                <c:pt idx="1">
                  <c:v>0.0</c:v>
                </c:pt>
                <c:pt idx="2">
                  <c:v>0.02164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435</c:v>
                </c:pt>
                <c:pt idx="1">
                  <c:v>0.005147</c:v>
                </c:pt>
                <c:pt idx="2">
                  <c:v>0.0</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7.5</a:t>
                    </a:r>
                  </a:p>
                </c:rich>
              </c:tx>
              <c:showLegendKey val="0"/>
              <c:showVal val="1"/>
              <c:showCatName val="0"/>
              <c:showSerName val="0"/>
              <c:showPercent val="0"/>
              <c:showBubbleSize val="0"/>
            </c:dLbl>
            <c:dLbl>
              <c:idx val="1"/>
              <c:tx>
                <c:rich>
                  <a:bodyPr/>
                  <a:lstStyle/>
                  <a:p>
                    <a:r>
                      <a:rPr>
                        <a:solidFill>
                          <a:srgbClr val="FFFFFF"/>
                        </a:solidFill>
                      </a:rPr>
                      <a:t>9.1</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537627</c:v>
                </c:pt>
                <c:pt idx="1">
                  <c:v>9.06882</c:v>
                </c:pt>
                <c:pt idx="2">
                  <c:v>3.00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5533</c:v>
                </c:pt>
                <c:pt idx="1">
                  <c:v>0.343911</c:v>
                </c:pt>
                <c:pt idx="2">
                  <c:v>0.12152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8288</c:v>
                </c:pt>
                <c:pt idx="1">
                  <c:v>0.208678</c:v>
                </c:pt>
                <c:pt idx="2">
                  <c:v>0.0749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anana Boat</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9966</c:v>
                </c:pt>
                <c:pt idx="1">
                  <c:v>0.17706</c:v>
                </c:pt>
                <c:pt idx="2">
                  <c:v>0.05815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Isdi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85</c:v>
                </c:pt>
                <c:pt idx="1">
                  <c:v>0.017064</c:v>
                </c:pt>
                <c:pt idx="2">
                  <c:v>0.00509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Neutrogen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1728</c:v>
                </c:pt>
                <c:pt idx="1">
                  <c:v>0.031723</c:v>
                </c:pt>
                <c:pt idx="2">
                  <c:v>0.0109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ribbean Beach</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90134</c:v>
                </c:pt>
                <c:pt idx="1">
                  <c:v>0.110626</c:v>
                </c:pt>
                <c:pt idx="2">
                  <c:v>0.03373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 Roche-Posa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186</c:v>
                </c:pt>
                <c:pt idx="1">
                  <c:v>0.004452</c:v>
                </c:pt>
                <c:pt idx="2">
                  <c:v>0.00147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429</c:v>
                </c:pt>
                <c:pt idx="1">
                  <c:v>0.003269</c:v>
                </c:pt>
                <c:pt idx="2">
                  <c:v>0.00097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91972</c:v>
                </c:pt>
                <c:pt idx="1">
                  <c:v>0.124697</c:v>
                </c:pt>
                <c:pt idx="2">
                  <c:v>0.05096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6667</c:v>
                </c:pt>
                <c:pt idx="1">
                  <c:v>0.043446</c:v>
                </c:pt>
                <c:pt idx="2">
                  <c:v>0.0128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vea</c:v>
                </c:pt>
              </c:strCache>
            </c:strRef>
          </c:tx>
          <c:spPr>
            <a:solidFill>
              <a:srgbClr val="BCBBBB"/>
            </a:solidFill>
            <a:ln>
              <a:solidFill>
                <a:schemeClr val="bg1"/>
              </a:solidFill>
            </a:ln>
            <a:effectLst/>
          </c:spPr>
          <c:invertIfNegative val="0"/>
          <c:dLbls>
            <c:dLbl>
              <c:idx val="0"/>
              <c:tx>
                <c:rich>
                  <a:bodyPr/>
                  <a:lstStyle/>
                  <a:p>
                    <a:r>
                      <a:rPr>
                        <a:solidFill>
                          <a:srgbClr val="FFFFFF"/>
                        </a:solidFill>
                      </a:rPr>
                      <a:t>591.5</a:t>
                    </a:r>
                  </a:p>
                </c:rich>
              </c:tx>
              <c:showLegendKey val="0"/>
              <c:showVal val="1"/>
              <c:showCatName val="0"/>
              <c:showSerName val="0"/>
              <c:showPercent val="0"/>
              <c:showBubbleSize val="0"/>
            </c:dLbl>
            <c:dLbl>
              <c:idx val="1"/>
              <c:tx>
                <c:rich>
                  <a:bodyPr/>
                  <a:lstStyle/>
                  <a:p>
                    <a:r>
                      <a:rPr>
                        <a:solidFill>
                          <a:srgbClr val="FFFFFF"/>
                        </a:solidFill>
                      </a:rPr>
                      <a:t>563.6</a:t>
                    </a:r>
                  </a:p>
                </c:rich>
              </c:tx>
              <c:showLegendKey val="0"/>
              <c:showVal val="1"/>
              <c:showCatName val="0"/>
              <c:showSerName val="0"/>
              <c:showPercent val="0"/>
              <c:showBubbleSize val="0"/>
            </c:dLbl>
            <c:dLbl>
              <c:idx val="2"/>
              <c:tx>
                <c:rich>
                  <a:bodyPr/>
                  <a:lstStyle/>
                  <a:p>
                    <a:r>
                      <a:rPr>
                        <a:solidFill>
                          <a:srgbClr val="FFFFFF"/>
                        </a:solidFill>
                      </a:rPr>
                      <a:t>19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91.45858</c:v>
                </c:pt>
                <c:pt idx="1">
                  <c:v>563.636468</c:v>
                </c:pt>
                <c:pt idx="2">
                  <c:v>191.87735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tx>
                <c:rich>
                  <a:bodyPr/>
                  <a:lstStyle/>
                  <a:p>
                    <a:r>
                      <a:rPr>
                        <a:solidFill>
                          <a:srgbClr val="FFFFFF"/>
                        </a:solidFill>
                      </a:rPr>
                      <a:t>259.4</a:t>
                    </a:r>
                  </a:p>
                </c:rich>
              </c:tx>
              <c:showLegendKey val="0"/>
              <c:showVal val="1"/>
              <c:showCatName val="0"/>
              <c:showSerName val="0"/>
              <c:showPercent val="0"/>
              <c:showBubbleSize val="0"/>
            </c:dLbl>
            <c:dLbl>
              <c:idx val="1"/>
              <c:tx>
                <c:rich>
                  <a:bodyPr/>
                  <a:lstStyle/>
                  <a:p>
                    <a:r>
                      <a:rPr>
                        <a:solidFill>
                          <a:srgbClr val="FFFFFF"/>
                        </a:solidFill>
                      </a:rPr>
                      <a:t>249.4</a:t>
                    </a:r>
                  </a:p>
                </c:rich>
              </c:tx>
              <c:showLegendKey val="0"/>
              <c:showVal val="1"/>
              <c:showCatName val="0"/>
              <c:showSerName val="0"/>
              <c:showPercent val="0"/>
              <c:showBubbleSize val="0"/>
            </c:dLbl>
            <c:dLbl>
              <c:idx val="2"/>
              <c:tx>
                <c:rich>
                  <a:bodyPr/>
                  <a:lstStyle/>
                  <a:p>
                    <a:r>
                      <a:rPr>
                        <a:solidFill>
                          <a:srgbClr val="FFFFFF"/>
                        </a:solidFill>
                      </a:rPr>
                      <a:t>9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59.384076</c:v>
                </c:pt>
                <c:pt idx="1">
                  <c:v>249.352467</c:v>
                </c:pt>
                <c:pt idx="2">
                  <c:v>91.69043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anana Boat</c:v>
                </c:pt>
              </c:strCache>
            </c:strRef>
          </c:tx>
          <c:spPr>
            <a:solidFill>
              <a:srgbClr val="00A097"/>
            </a:solidFill>
            <a:ln>
              <a:solidFill>
                <a:schemeClr val="bg1"/>
              </a:solidFill>
            </a:ln>
            <a:effectLst/>
          </c:spPr>
          <c:invertIfNegative val="0"/>
          <c:dLbls>
            <c:dLbl>
              <c:idx val="0"/>
              <c:tx>
                <c:rich>
                  <a:bodyPr/>
                  <a:lstStyle/>
                  <a:p>
                    <a:r>
                      <a:rPr>
                        <a:solidFill>
                          <a:srgbClr val="FFFFFF"/>
                        </a:solidFill>
                      </a:rPr>
                      <a:t>237.2</a:t>
                    </a:r>
                  </a:p>
                </c:rich>
              </c:tx>
              <c:showLegendKey val="0"/>
              <c:showVal val="1"/>
              <c:showCatName val="0"/>
              <c:showSerName val="0"/>
              <c:showPercent val="0"/>
              <c:showBubbleSize val="0"/>
            </c:dLbl>
            <c:dLbl>
              <c:idx val="1"/>
              <c:tx>
                <c:rich>
                  <a:bodyPr/>
                  <a:lstStyle/>
                  <a:p>
                    <a:r>
                      <a:rPr>
                        <a:solidFill>
                          <a:srgbClr val="FFFFFF"/>
                        </a:solidFill>
                      </a:rPr>
                      <a:t>213.9</a:t>
                    </a:r>
                  </a:p>
                </c:rich>
              </c:tx>
              <c:showLegendKey val="0"/>
              <c:showVal val="1"/>
              <c:showCatName val="0"/>
              <c:showSerName val="0"/>
              <c:showPercent val="0"/>
              <c:showBubbleSize val="0"/>
            </c:dLbl>
            <c:dLbl>
              <c:idx val="2"/>
              <c:tx>
                <c:rich>
                  <a:bodyPr/>
                  <a:lstStyle/>
                  <a:p>
                    <a:r>
                      <a:rPr>
                        <a:solidFill>
                          <a:srgbClr val="FFFFFF"/>
                        </a:solidFill>
                      </a:rPr>
                      <a:t>7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37.186599</c:v>
                </c:pt>
                <c:pt idx="1">
                  <c:v>213.878558</c:v>
                </c:pt>
                <c:pt idx="2">
                  <c:v>71.0836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Isdin</c:v>
                </c:pt>
              </c:strCache>
            </c:strRef>
          </c:tx>
          <c:spPr>
            <a:solidFill>
              <a:srgbClr val="7F7F7F"/>
            </a:solidFill>
            <a:ln>
              <a:solidFill>
                <a:schemeClr val="bg1"/>
              </a:solidFill>
            </a:ln>
            <a:effectLst/>
          </c:spPr>
          <c:invertIfNegative val="0"/>
          <c:dLbls>
            <c:dLbl>
              <c:idx val="0"/>
              <c:tx>
                <c:rich>
                  <a:bodyPr/>
                  <a:lstStyle/>
                  <a:p>
                    <a:r>
                      <a:rPr>
                        <a:solidFill>
                          <a:srgbClr val="FFFFFF"/>
                        </a:solidFill>
                      </a:rPr>
                      <a:t>99.3</a:t>
                    </a:r>
                  </a:p>
                </c:rich>
              </c:tx>
              <c:showLegendKey val="0"/>
              <c:showVal val="1"/>
              <c:showCatName val="0"/>
              <c:showSerName val="0"/>
              <c:showPercent val="0"/>
              <c:showBubbleSize val="0"/>
            </c:dLbl>
            <c:dLbl>
              <c:idx val="1"/>
              <c:tx>
                <c:rich>
                  <a:bodyPr/>
                  <a:lstStyle/>
                  <a:p>
                    <a:r>
                      <a:rPr>
                        <a:solidFill>
                          <a:srgbClr val="FFFFFF"/>
                        </a:solidFill>
                      </a:rPr>
                      <a:t>108.3</a:t>
                    </a:r>
                  </a:p>
                </c:rich>
              </c:tx>
              <c:showLegendKey val="0"/>
              <c:showVal val="1"/>
              <c:showCatName val="0"/>
              <c:showSerName val="0"/>
              <c:showPercent val="0"/>
              <c:showBubbleSize val="0"/>
            </c:dLbl>
            <c:dLbl>
              <c:idx val="2"/>
              <c:tx>
                <c:rich>
                  <a:bodyPr/>
                  <a:lstStyle/>
                  <a:p>
                    <a:r>
                      <a:rPr>
                        <a:solidFill>
                          <a:srgbClr val="FFFFFF"/>
                        </a:solidFill>
                      </a:rPr>
                      <a:t>3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9.34508</c:v>
                </c:pt>
                <c:pt idx="1">
                  <c:v>108.263356</c:v>
                </c:pt>
                <c:pt idx="2">
                  <c:v>35.81100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Neutrogena</c:v>
                </c:pt>
              </c:strCache>
            </c:strRef>
          </c:tx>
          <c:spPr>
            <a:solidFill>
              <a:srgbClr val="575555"/>
            </a:solidFill>
            <a:ln>
              <a:solidFill>
                <a:schemeClr val="bg1"/>
              </a:solidFill>
            </a:ln>
            <a:effectLst/>
          </c:spPr>
          <c:invertIfNegative val="0"/>
          <c:dLbls>
            <c:dLbl>
              <c:idx val="0"/>
              <c:tx>
                <c:rich>
                  <a:bodyPr/>
                  <a:lstStyle/>
                  <a:p>
                    <a:r>
                      <a:rPr>
                        <a:solidFill>
                          <a:srgbClr val="FFFFFF"/>
                        </a:solidFill>
                      </a:rPr>
                      <a:t>64.3</a:t>
                    </a:r>
                  </a:p>
                </c:rich>
              </c:tx>
              <c:showLegendKey val="0"/>
              <c:showVal val="1"/>
              <c:showCatName val="0"/>
              <c:showSerName val="0"/>
              <c:showPercent val="0"/>
              <c:showBubbleSize val="0"/>
            </c:dLbl>
            <c:dLbl>
              <c:idx val="1"/>
              <c:tx>
                <c:rich>
                  <a:bodyPr/>
                  <a:lstStyle/>
                  <a:p>
                    <a:r>
                      <a:rPr>
                        <a:solidFill>
                          <a:srgbClr val="FFFFFF"/>
                        </a:solidFill>
                      </a:rPr>
                      <a:t>102.3</a:t>
                    </a:r>
                  </a:p>
                </c:rich>
              </c:tx>
              <c:showLegendKey val="0"/>
              <c:showVal val="1"/>
              <c:showCatName val="0"/>
              <c:showSerName val="0"/>
              <c:showPercent val="0"/>
              <c:showBubbleSize val="0"/>
            </c:dLbl>
            <c:dLbl>
              <c:idx val="2"/>
              <c:tx>
                <c:rich>
                  <a:bodyPr/>
                  <a:lstStyle/>
                  <a:p>
                    <a:r>
                      <a:rPr>
                        <a:solidFill>
                          <a:srgbClr val="FFFFFF"/>
                        </a:solidFill>
                      </a:rPr>
                      <a:t>3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64.307831</c:v>
                </c:pt>
                <c:pt idx="1">
                  <c:v>102.333352</c:v>
                </c:pt>
                <c:pt idx="2">
                  <c:v>35.15609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ribbean Beach</c:v>
                </c:pt>
              </c:strCache>
            </c:strRef>
          </c:tx>
          <c:spPr>
            <a:solidFill>
              <a:srgbClr val="575555"/>
            </a:solidFill>
            <a:ln>
              <a:solidFill>
                <a:schemeClr val="bg1"/>
              </a:solidFill>
            </a:ln>
            <a:effectLst/>
          </c:spPr>
          <c:invertIfNegative val="0"/>
          <c:dLbls>
            <c:dLbl>
              <c:idx val="0"/>
              <c:tx>
                <c:rich>
                  <a:bodyPr/>
                  <a:lstStyle/>
                  <a:p>
                    <a:r>
                      <a:rPr>
                        <a:solidFill>
                          <a:srgbClr val="FFFFFF"/>
                        </a:solidFill>
                      </a:rPr>
                      <a:t>92.2</a:t>
                    </a:r>
                  </a:p>
                </c:rich>
              </c:tx>
              <c:showLegendKey val="0"/>
              <c:showVal val="1"/>
              <c:showCatName val="0"/>
              <c:showSerName val="0"/>
              <c:showPercent val="0"/>
              <c:showBubbleSize val="0"/>
            </c:dLbl>
            <c:dLbl>
              <c:idx val="1"/>
              <c:tx>
                <c:rich>
                  <a:bodyPr/>
                  <a:lstStyle/>
                  <a:p>
                    <a:r>
                      <a:rPr>
                        <a:solidFill>
                          <a:srgbClr val="FFFFFF"/>
                        </a:solidFill>
                      </a:rPr>
                      <a:t>67.8</a:t>
                    </a:r>
                  </a:p>
                </c:rich>
              </c:tx>
              <c:showLegendKey val="0"/>
              <c:showVal val="1"/>
              <c:showCatName val="0"/>
              <c:showSerName val="0"/>
              <c:showPercent val="0"/>
              <c:showBubbleSize val="0"/>
            </c:dLbl>
            <c:dLbl>
              <c:idx val="2"/>
              <c:tx>
                <c:rich>
                  <a:bodyPr/>
                  <a:lstStyle/>
                  <a:p>
                    <a:r>
                      <a:rPr>
                        <a:solidFill>
                          <a:srgbClr val="FFFFFF"/>
                        </a:solidFill>
                      </a:rPr>
                      <a:t>2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92.201411</c:v>
                </c:pt>
                <c:pt idx="1">
                  <c:v>67.841501</c:v>
                </c:pt>
                <c:pt idx="2">
                  <c:v>22.4028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 Roche-Posay</c:v>
                </c:pt>
              </c:strCache>
            </c:strRef>
          </c:tx>
          <c:spPr>
            <a:solidFill>
              <a:srgbClr val="575555"/>
            </a:solidFill>
            <a:ln>
              <a:solidFill>
                <a:schemeClr val="bg1"/>
              </a:solidFill>
            </a:ln>
            <a:effectLst/>
          </c:spPr>
          <c:invertIfNegative val="0"/>
          <c:dLbls>
            <c:dLbl>
              <c:idx val="0"/>
              <c:tx>
                <c:rich>
                  <a:bodyPr/>
                  <a:lstStyle/>
                  <a:p>
                    <a:r>
                      <a:rPr>
                        <a:solidFill>
                          <a:srgbClr val="FFFFFF"/>
                        </a:solidFill>
                      </a:rPr>
                      <a:t>40.9</a:t>
                    </a:r>
                  </a:p>
                </c:rich>
              </c:tx>
              <c:showLegendKey val="0"/>
              <c:showVal val="1"/>
              <c:showCatName val="0"/>
              <c:showSerName val="0"/>
              <c:showPercent val="0"/>
              <c:showBubbleSize val="0"/>
            </c:dLbl>
            <c:dLbl>
              <c:idx val="1"/>
              <c:tx>
                <c:rich>
                  <a:bodyPr/>
                  <a:lstStyle/>
                  <a:p>
                    <a:r>
                      <a:rPr>
                        <a:solidFill>
                          <a:srgbClr val="FFFFFF"/>
                        </a:solidFill>
                      </a:rPr>
                      <a:t>45.0</a:t>
                    </a:r>
                  </a:p>
                </c:rich>
              </c:tx>
              <c:showLegendKey val="0"/>
              <c:showVal val="1"/>
              <c:showCatName val="0"/>
              <c:showSerName val="0"/>
              <c:showPercent val="0"/>
              <c:showBubbleSize val="0"/>
            </c:dLbl>
            <c:dLbl>
              <c:idx val="2"/>
              <c:tx>
                <c:rich>
                  <a:bodyPr/>
                  <a:lstStyle/>
                  <a:p>
                    <a:r>
                      <a:rPr>
                        <a:solidFill>
                          <a:srgbClr val="FFFFFF"/>
                        </a:solidFill>
                      </a:rPr>
                      <a:t>1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40.887369</c:v>
                </c:pt>
                <c:pt idx="1">
                  <c:v>45.002322</c:v>
                </c:pt>
                <c:pt idx="2">
                  <c:v>14.12186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eauty Care</c:v>
                </c:pt>
              </c:strCache>
            </c:strRef>
          </c:tx>
          <c:spPr>
            <a:solidFill>
              <a:srgbClr val="B2DFDC"/>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3.1</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338311</c:v>
                </c:pt>
                <c:pt idx="1">
                  <c:v>13.125482</c:v>
                </c:pt>
                <c:pt idx="2">
                  <c:v>3.86468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09.9</a:t>
                    </a:r>
                  </a:p>
                </c:rich>
              </c:tx>
              <c:showLegendKey val="0"/>
              <c:showVal val="1"/>
              <c:showCatName val="0"/>
              <c:showSerName val="0"/>
              <c:showPercent val="0"/>
              <c:showBubbleSize val="0"/>
            </c:dLbl>
            <c:dLbl>
              <c:idx val="1"/>
              <c:tx>
                <c:rich>
                  <a:bodyPr/>
                  <a:lstStyle/>
                  <a:p>
                    <a:r>
                      <a:rPr>
                        <a:solidFill>
                          <a:srgbClr val="FFFFFF"/>
                        </a:solidFill>
                      </a:rPr>
                      <a:t>252.9</a:t>
                    </a:r>
                  </a:p>
                </c:rich>
              </c:tx>
              <c:showLegendKey val="0"/>
              <c:showVal val="1"/>
              <c:showCatName val="0"/>
              <c:showSerName val="0"/>
              <c:showPercent val="0"/>
              <c:showBubbleSize val="0"/>
            </c:dLbl>
            <c:dLbl>
              <c:idx val="2"/>
              <c:tx>
                <c:rich>
                  <a:bodyPr/>
                  <a:lstStyle/>
                  <a:p>
                    <a:r>
                      <a:rPr>
                        <a:solidFill>
                          <a:srgbClr val="FFFFFF"/>
                        </a:solidFill>
                      </a:rPr>
                      <a:t>9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09.900793</c:v>
                </c:pt>
                <c:pt idx="1">
                  <c:v>252.942573</c:v>
                </c:pt>
                <c:pt idx="2">
                  <c:v>98.66567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 Marca Unif.</c:v>
                </c:pt>
              </c:strCache>
            </c:strRef>
          </c:tx>
          <c:spPr>
            <a:solidFill>
              <a:srgbClr val="575555"/>
            </a:solidFill>
            <a:ln>
              <a:solidFill>
                <a:schemeClr val="bg1"/>
              </a:solidFill>
            </a:ln>
            <a:effectLst/>
          </c:spPr>
          <c:invertIfNegative val="0"/>
          <c:dLbls>
            <c:dLbl>
              <c:idx val="0"/>
              <c:tx>
                <c:rich>
                  <a:bodyPr/>
                  <a:lstStyle/>
                  <a:p>
                    <a:r>
                      <a:rPr>
                        <a:solidFill>
                          <a:srgbClr val="FFFFFF"/>
                        </a:solidFill>
                      </a:rPr>
                      <a:t>40.7</a:t>
                    </a:r>
                  </a:p>
                </c:rich>
              </c:tx>
              <c:showLegendKey val="0"/>
              <c:showVal val="1"/>
              <c:showCatName val="0"/>
              <c:showSerName val="0"/>
              <c:showPercent val="0"/>
              <c:showBubbleSize val="0"/>
            </c:dLbl>
            <c:dLbl>
              <c:idx val="1"/>
              <c:tx>
                <c:rich>
                  <a:bodyPr/>
                  <a:lstStyle/>
                  <a:p>
                    <a:r>
                      <a:rPr>
                        <a:solidFill>
                          <a:srgbClr val="FFFFFF"/>
                        </a:solidFill>
                      </a:rPr>
                      <a:t>54.7</a:t>
                    </a:r>
                  </a:p>
                </c:rich>
              </c:tx>
              <c:showLegendKey val="0"/>
              <c:showVal val="1"/>
              <c:showCatName val="0"/>
              <c:showSerName val="0"/>
              <c:showPercent val="0"/>
              <c:showBubbleSize val="0"/>
            </c:dLbl>
            <c:dLbl>
              <c:idx val="2"/>
              <c:tx>
                <c:rich>
                  <a:bodyPr/>
                  <a:lstStyle/>
                  <a:p>
                    <a:r>
                      <a:rPr>
                        <a:solidFill>
                          <a:srgbClr val="FFFFFF"/>
                        </a:solidFill>
                      </a:rPr>
                      <a:t>1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0.746651</c:v>
                </c:pt>
                <c:pt idx="1">
                  <c:v>54.723522</c:v>
                </c:pt>
                <c:pt idx="2">
                  <c:v>15.277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7963</c:v>
                </c:pt>
                <c:pt idx="1">
                  <c:v>0.075688</c:v>
                </c:pt>
                <c:pt idx="2">
                  <c:v>0.0278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004</c:v>
                </c:pt>
                <c:pt idx="1">
                  <c:v>0.062433</c:v>
                </c:pt>
                <c:pt idx="2">
                  <c:v>0.01987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14</c:v>
                </c:pt>
                <c:pt idx="1">
                  <c:v>0.001367</c:v>
                </c:pt>
                <c:pt idx="2">
                  <c:v>0.0002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a:solidFill>
                          <a:srgbClr val="FFFFFF"/>
                        </a:solidFill>
                      </a:rPr>
                      <a:t>80.7</a:t>
                    </a:r>
                  </a:p>
                </c:rich>
              </c:tx>
              <c:showLegendKey val="0"/>
              <c:showVal val="1"/>
              <c:showCatName val="0"/>
              <c:showSerName val="0"/>
              <c:showPercent val="0"/>
              <c:showBubbleSize val="0"/>
            </c:dLbl>
            <c:dLbl>
              <c:idx val="1"/>
              <c:tx>
                <c:rich>
                  <a:bodyPr/>
                  <a:lstStyle/>
                  <a:p>
                    <a:r>
                      <a:rPr>
                        <a:solidFill>
                          <a:srgbClr val="FFFFFF"/>
                        </a:solidFill>
                      </a:rPr>
                      <a:t>82.6</a:t>
                    </a:r>
                  </a:p>
                </c:rich>
              </c:tx>
              <c:showLegendKey val="0"/>
              <c:showVal val="1"/>
              <c:showCatName val="0"/>
              <c:showSerName val="0"/>
              <c:showPercent val="0"/>
              <c:showBubbleSize val="0"/>
            </c:dLbl>
            <c:dLbl>
              <c:idx val="2"/>
              <c:tx>
                <c:rich>
                  <a:bodyPr/>
                  <a:lstStyle/>
                  <a:p>
                    <a:r>
                      <a:rPr>
                        <a:solidFill>
                          <a:srgbClr val="FFFFFF"/>
                        </a:solidFill>
                      </a:rPr>
                      <a:t>3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0.688793</c:v>
                </c:pt>
                <c:pt idx="1">
                  <c:v>82.574251</c:v>
                </c:pt>
                <c:pt idx="2">
                  <c:v>30.5245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74.8</a:t>
                    </a:r>
                  </a:p>
                </c:rich>
              </c:tx>
              <c:showLegendKey val="0"/>
              <c:showVal val="1"/>
              <c:showCatName val="0"/>
              <c:showSerName val="0"/>
              <c:showPercent val="0"/>
              <c:showBubbleSize val="0"/>
            </c:dLbl>
            <c:dLbl>
              <c:idx val="1"/>
              <c:tx>
                <c:rich>
                  <a:bodyPr/>
                  <a:lstStyle/>
                  <a:p>
                    <a:r>
                      <a:rPr>
                        <a:solidFill>
                          <a:srgbClr val="FFFFFF"/>
                        </a:solidFill>
                      </a:rPr>
                      <a:t>70.2</a:t>
                    </a:r>
                  </a:p>
                </c:rich>
              </c:tx>
              <c:showLegendKey val="0"/>
              <c:showVal val="1"/>
              <c:showCatName val="0"/>
              <c:showSerName val="0"/>
              <c:showPercent val="0"/>
              <c:showBubbleSize val="0"/>
            </c:dLbl>
            <c:dLbl>
              <c:idx val="2"/>
              <c:tx>
                <c:rich>
                  <a:bodyPr/>
                  <a:lstStyle/>
                  <a:p>
                    <a:r>
                      <a:rPr>
                        <a:solidFill>
                          <a:srgbClr val="FFFFFF"/>
                        </a:solidFill>
                      </a:rPr>
                      <a:t>2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4.789075</c:v>
                </c:pt>
                <c:pt idx="1">
                  <c:v>70.17978</c:v>
                </c:pt>
                <c:pt idx="2">
                  <c:v>22.50874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5.0</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16053</c:v>
                </c:pt>
                <c:pt idx="1">
                  <c:v>5.025038</c:v>
                </c:pt>
                <c:pt idx="2">
                  <c:v>1.1362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anana Boat</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2852</c:v>
                </c:pt>
                <c:pt idx="1">
                  <c:v>0.028736</c:v>
                </c:pt>
                <c:pt idx="2">
                  <c:v>0.01012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2663</c:v>
                </c:pt>
                <c:pt idx="1">
                  <c:v>0.029709</c:v>
                </c:pt>
                <c:pt idx="2">
                  <c:v>0.01037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00391</c:v>
                </c:pt>
                <c:pt idx="2">
                  <c:v>0.0001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anana Boat</c:v>
                </c:pt>
              </c:strCache>
            </c:strRef>
          </c:tx>
          <c:spPr>
            <a:solidFill>
              <a:srgbClr val="00504B"/>
            </a:solidFill>
            <a:ln>
              <a:solidFill>
                <a:schemeClr val="bg1"/>
              </a:solidFill>
            </a:ln>
            <a:effectLst/>
          </c:spPr>
          <c:invertIfNegative val="0"/>
          <c:dLbls>
            <c:dLbl>
              <c:idx val="0"/>
              <c:tx>
                <c:rich>
                  <a:bodyPr/>
                  <a:lstStyle/>
                  <a:p>
                    <a:r>
                      <a:rPr>
                        <a:solidFill>
                          <a:srgbClr val="FFFFFF"/>
                        </a:solidFill>
                      </a:rPr>
                      <a:t>37.3</a:t>
                    </a:r>
                  </a:p>
                </c:rich>
              </c:tx>
              <c:showLegendKey val="0"/>
              <c:showVal val="1"/>
              <c:showCatName val="0"/>
              <c:showSerName val="0"/>
              <c:showPercent val="0"/>
              <c:showBubbleSize val="0"/>
            </c:dLbl>
            <c:dLbl>
              <c:idx val="1"/>
              <c:tx>
                <c:rich>
                  <a:bodyPr/>
                  <a:lstStyle/>
                  <a:p>
                    <a:r>
                      <a:rPr>
                        <a:solidFill>
                          <a:srgbClr val="FFFFFF"/>
                        </a:solidFill>
                      </a:rPr>
                      <a:t>25.7</a:t>
                    </a:r>
                  </a:p>
                </c:rich>
              </c:tx>
              <c:showLegendKey val="0"/>
              <c:showVal val="1"/>
              <c:showCatName val="0"/>
              <c:showSerName val="0"/>
              <c:showPercent val="0"/>
              <c:showBubbleSize val="0"/>
            </c:dLbl>
            <c:dLbl>
              <c:idx val="2"/>
              <c:tx>
                <c:rich>
                  <a:bodyPr/>
                  <a:lstStyle/>
                  <a:p>
                    <a:r>
                      <a:rPr>
                        <a:solidFill>
                          <a:srgbClr val="FFFFFF"/>
                        </a:solidFill>
                      </a:rPr>
                      <a:t>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7.295244</c:v>
                </c:pt>
                <c:pt idx="1">
                  <c:v>25.745472</c:v>
                </c:pt>
                <c:pt idx="2">
                  <c:v>8.6666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Hawaiian Tropic</c:v>
                </c:pt>
              </c:strCache>
            </c:strRef>
          </c:tx>
          <c:spPr>
            <a:solidFill>
              <a:srgbClr val="006C6D"/>
            </a:solidFill>
            <a:ln>
              <a:solidFill>
                <a:schemeClr val="bg1"/>
              </a:solidFill>
            </a:ln>
            <a:effectLst/>
          </c:spPr>
          <c:invertIfNegative val="0"/>
          <c:dLbls>
            <c:dLbl>
              <c:idx val="0"/>
              <c:tx>
                <c:rich>
                  <a:bodyPr/>
                  <a:lstStyle/>
                  <a:p>
                    <a:r>
                      <a:rPr>
                        <a:solidFill>
                          <a:srgbClr val="FFFFFF"/>
                        </a:solidFill>
                      </a:rPr>
                      <a:t>29.6</a:t>
                    </a:r>
                  </a:p>
                </c:rich>
              </c:tx>
              <c:showLegendKey val="0"/>
              <c:showVal val="1"/>
              <c:showCatName val="0"/>
              <c:showSerName val="0"/>
              <c:showPercent val="0"/>
              <c:showBubbleSize val="0"/>
            </c:dLbl>
            <c:dLbl>
              <c:idx val="1"/>
              <c:tx>
                <c:rich>
                  <a:bodyPr/>
                  <a:lstStyle/>
                  <a:p>
                    <a:r>
                      <a:rPr>
                        <a:solidFill>
                          <a:srgbClr val="FFFFFF"/>
                        </a:solidFill>
                      </a:rPr>
                      <a:t>28.9</a:t>
                    </a:r>
                  </a:p>
                </c:rich>
              </c:tx>
              <c:showLegendKey val="0"/>
              <c:showVal val="1"/>
              <c:showCatName val="0"/>
              <c:showSerName val="0"/>
              <c:showPercent val="0"/>
              <c:showBubbleSize val="0"/>
            </c:dLbl>
            <c:dLbl>
              <c:idx val="2"/>
              <c:tx>
                <c:rich>
                  <a:bodyPr/>
                  <a:lstStyle/>
                  <a:p>
                    <a:r>
                      <a:rPr>
                        <a:solidFill>
                          <a:srgbClr val="FFFFFF"/>
                        </a:solidFill>
                      </a:rPr>
                      <a:t>1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9.578128</c:v>
                </c:pt>
                <c:pt idx="1">
                  <c:v>28.94356</c:v>
                </c:pt>
                <c:pt idx="2">
                  <c:v>10.33737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1.662207</c:v>
                </c:pt>
                <c:pt idx="2">
                  <c:v>0.7464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045</c:v>
                </c:pt>
                <c:pt idx="1">
                  <c:v>0.00595</c:v>
                </c:pt>
                <c:pt idx="2">
                  <c:v>0.00188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943</c:v>
                </c:pt>
                <c:pt idx="1">
                  <c:v>0.003871</c:v>
                </c:pt>
                <c:pt idx="2">
                  <c:v>0.0012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e-05</c:v>
                </c:pt>
                <c:pt idx="1">
                  <c:v>8.7e-05</c:v>
                </c:pt>
                <c:pt idx="2">
                  <c:v>1.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12</c:v>
                </c:pt>
                <c:pt idx="1">
                  <c:v>0.005816</c:v>
                </c:pt>
                <c:pt idx="2">
                  <c:v>0.0012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926</c:v>
                </c:pt>
                <c:pt idx="1">
                  <c:v>0.003361</c:v>
                </c:pt>
                <c:pt idx="2">
                  <c:v>0.00055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nds.Lavin De Mexico</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848</c:v>
                </c:pt>
                <c:pt idx="1">
                  <c:v>0.001607</c:v>
                </c:pt>
                <c:pt idx="2">
                  <c:v>0.0002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Total Care De Mexic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648</c:v>
                </c:pt>
                <c:pt idx="1">
                  <c:v>0.002702</c:v>
                </c:pt>
                <c:pt idx="2">
                  <c:v>0.00053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374</c:v>
                </c:pt>
                <c:pt idx="1">
                  <c:v>0.000428</c:v>
                </c:pt>
                <c:pt idx="2">
                  <c:v>0.0001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ierre Fab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243</c:v>
                </c:pt>
                <c:pt idx="1">
                  <c:v>2e-05</c:v>
                </c:pt>
                <c:pt idx="2">
                  <c:v>0.0</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702</c:v>
                </c:pt>
                <c:pt idx="1">
                  <c:v>0.007652</c:v>
                </c:pt>
                <c:pt idx="2">
                  <c:v>0.002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a:solidFill>
                          <a:srgbClr val="FFFFFF"/>
                        </a:solidFill>
                      </a:rPr>
                      <a:t>5.7</a:t>
                    </a:r>
                  </a:p>
                </c:rich>
              </c:tx>
              <c:showLegendKey val="0"/>
              <c:showVal val="1"/>
              <c:showCatName val="0"/>
              <c:showSerName val="0"/>
              <c:showPercent val="0"/>
              <c:showBubbleSize val="0"/>
            </c:dLbl>
            <c:dLbl>
              <c:idx val="1"/>
              <c:tx>
                <c:rich>
                  <a:bodyPr/>
                  <a:lstStyle/>
                  <a:p>
                    <a:r>
                      <a:rPr>
                        <a:solidFill>
                          <a:srgbClr val="FFFFFF"/>
                        </a:solidFill>
                      </a:rPr>
                      <a:t>6.8</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673546</c:v>
                </c:pt>
                <c:pt idx="1">
                  <c:v>6.82538</c:v>
                </c:pt>
                <c:pt idx="2">
                  <c:v>1.9755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243242</c:v>
                </c:pt>
                <c:pt idx="1">
                  <c:v>4.028568</c:v>
                </c:pt>
                <c:pt idx="2">
                  <c:v>1.3029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9976</c:v>
                </c:pt>
                <c:pt idx="1">
                  <c:v>0.513106</c:v>
                </c:pt>
                <c:pt idx="2">
                  <c:v>0.12951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41</c:v>
                </c:pt>
                <c:pt idx="1">
                  <c:v>0.005759</c:v>
                </c:pt>
                <c:pt idx="2">
                  <c:v>0.0029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074</c:v>
                </c:pt>
                <c:pt idx="1">
                  <c:v>0.004934</c:v>
                </c:pt>
                <c:pt idx="2">
                  <c:v>0.0022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1.1e-05</c:v>
                </c:pt>
                <c:pt idx="2">
                  <c:v>2e-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awaiian Tropic</c:v>
                </c:pt>
              </c:strCache>
            </c:strRef>
          </c:tx>
          <c:spPr>
            <a:solidFill>
              <a:srgbClr val="00504B"/>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5.8</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159402</c:v>
                </c:pt>
                <c:pt idx="1">
                  <c:v>5.824837</c:v>
                </c:pt>
                <c:pt idx="2">
                  <c:v>2.82626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ana Boat</c:v>
                </c:pt>
              </c:strCache>
            </c:strRef>
          </c:tx>
          <c:spPr>
            <a:solidFill>
              <a:srgbClr val="006C6D"/>
            </a:solidFill>
            <a:ln>
              <a:solidFill>
                <a:schemeClr val="bg1"/>
              </a:solidFill>
            </a:ln>
            <a:effectLst/>
          </c:spPr>
          <c:invertIfNegative val="0"/>
          <c:dLbls>
            <c:dLbl>
              <c:idx val="0"/>
              <c:tx>
                <c:rich>
                  <a:bodyPr/>
                  <a:lstStyle/>
                  <a:p>
                    <a:r>
                      <a:rPr>
                        <a:solidFill>
                          <a:srgbClr val="FFFFFF"/>
                        </a:solidFill>
                      </a:rPr>
                      <a:t>6.2</a:t>
                    </a:r>
                  </a:p>
                </c:rich>
              </c:tx>
              <c:showLegendKey val="0"/>
              <c:showVal val="1"/>
              <c:showCatName val="0"/>
              <c:showSerName val="0"/>
              <c:showPercent val="0"/>
              <c:showBubbleSize val="0"/>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203687</c:v>
                </c:pt>
                <c:pt idx="1">
                  <c:v>4.011219</c:v>
                </c:pt>
                <c:pt idx="2">
                  <c:v>1.8442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auty Care</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c:v>
                </c:pt>
                <c:pt idx="1">
                  <c:v>0.07781</c:v>
                </c:pt>
                <c:pt idx="2">
                  <c:v>0.0596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78207</c:v>
                </c:pt>
                <c:pt idx="1">
                  <c:v>1.672734</c:v>
                </c:pt>
                <c:pt idx="2">
                  <c:v>0.595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ded Pack</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2165</c:v>
                </c:pt>
                <c:pt idx="1">
                  <c:v>0.014559</c:v>
                </c:pt>
                <c:pt idx="2">
                  <c:v>0.00261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5652</c:v>
                </c:pt>
                <c:pt idx="1">
                  <c:v>0.085914</c:v>
                </c:pt>
                <c:pt idx="2">
                  <c:v>0.02932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Tannin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4309</c:v>
                </c:pt>
                <c:pt idx="1">
                  <c:v>0.042829</c:v>
                </c:pt>
                <c:pt idx="2">
                  <c:v>0.01638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960333</c:v>
                </c:pt>
                <c:pt idx="1">
                  <c:v>1.816036</c:v>
                </c:pt>
                <c:pt idx="2">
                  <c:v>0.64334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a:solidFill>
                          <a:srgbClr val="FFFFFF"/>
                        </a:solidFill>
                      </a:rPr>
                      <a:t>3742.1</a:t>
                    </a:r>
                  </a:p>
                </c:rich>
              </c:tx>
              <c:showLegendKey val="0"/>
              <c:showVal val="1"/>
              <c:showCatName val="0"/>
              <c:showSerName val="0"/>
              <c:showPercent val="0"/>
              <c:showBubbleSize val="0"/>
            </c:dLbl>
            <c:dLbl>
              <c:idx val="1"/>
              <c:tx>
                <c:rich>
                  <a:bodyPr/>
                  <a:lstStyle/>
                  <a:p>
                    <a:r>
                      <a:rPr>
                        <a:solidFill>
                          <a:srgbClr val="FFFFFF"/>
                        </a:solidFill>
                      </a:rPr>
                      <a:t>3982.8</a:t>
                    </a:r>
                  </a:p>
                </c:rich>
              </c:tx>
              <c:showLegendKey val="0"/>
              <c:showVal val="1"/>
              <c:showCatName val="0"/>
              <c:showSerName val="0"/>
              <c:showPercent val="0"/>
              <c:showBubbleSize val="0"/>
            </c:dLbl>
            <c:dLbl>
              <c:idx val="2"/>
              <c:tx>
                <c:rich>
                  <a:bodyPr/>
                  <a:lstStyle/>
                  <a:p>
                    <a:r>
                      <a:rPr>
                        <a:solidFill>
                          <a:srgbClr val="FFFFFF"/>
                        </a:solidFill>
                      </a:rPr>
                      <a:t>141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742.052851</c:v>
                </c:pt>
                <c:pt idx="1">
                  <c:v>3982.826737</c:v>
                </c:pt>
                <c:pt idx="2">
                  <c:v>1417.42635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ded Pack</c:v>
                </c:pt>
              </c:strCache>
            </c:strRef>
          </c:tx>
          <c:spPr>
            <a:solidFill>
              <a:srgbClr val="A6A6A6"/>
            </a:solidFill>
            <a:ln>
              <a:solidFill>
                <a:schemeClr val="bg1"/>
              </a:solidFill>
            </a:ln>
            <a:effectLst/>
          </c:spPr>
          <c:invertIfNegative val="0"/>
          <c:dLbls>
            <c:dLbl>
              <c:idx val="0"/>
              <c:tx>
                <c:rich>
                  <a:bodyPr/>
                  <a:lstStyle/>
                  <a:p>
                    <a:r>
                      <a:rPr>
                        <a:solidFill>
                          <a:srgbClr val="FFFFFF"/>
                        </a:solidFill>
                      </a:rPr>
                      <a:t>40.7</a:t>
                    </a:r>
                  </a:p>
                </c:rich>
              </c:tx>
              <c:showLegendKey val="0"/>
              <c:showVal val="1"/>
              <c:showCatName val="0"/>
              <c:showSerName val="0"/>
              <c:showPercent val="0"/>
              <c:showBubbleSize val="0"/>
            </c:dLbl>
            <c:dLbl>
              <c:idx val="1"/>
              <c:tx>
                <c:rich>
                  <a:bodyPr/>
                  <a:lstStyle/>
                  <a:p>
                    <a:r>
                      <a:rPr>
                        <a:solidFill>
                          <a:srgbClr val="FFFFFF"/>
                        </a:solidFill>
                      </a:rPr>
                      <a:t>87.6</a:t>
                    </a:r>
                  </a:p>
                </c:rich>
              </c:tx>
              <c:showLegendKey val="0"/>
              <c:showVal val="1"/>
              <c:showCatName val="0"/>
              <c:showSerName val="0"/>
              <c:showPercent val="0"/>
              <c:showBubbleSize val="0"/>
            </c:dLbl>
            <c:dLbl>
              <c:idx val="2"/>
              <c:tx>
                <c:rich>
                  <a:bodyPr/>
                  <a:lstStyle/>
                  <a:p>
                    <a:r>
                      <a:rPr>
                        <a:solidFill>
                          <a:srgbClr val="FFFFFF"/>
                        </a:solidFill>
                      </a:rPr>
                      <a:t>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0.655323</c:v>
                </c:pt>
                <c:pt idx="1">
                  <c:v>87.638946</c:v>
                </c:pt>
                <c:pt idx="2">
                  <c:v>9.92763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a:solidFill>
                          <a:srgbClr val="FFFFFF"/>
                        </a:solidFill>
                      </a:rPr>
                      <a:t>56.1</a:t>
                    </a:r>
                  </a:p>
                </c:rich>
              </c:tx>
              <c:showLegendKey val="0"/>
              <c:showVal val="1"/>
              <c:showCatName val="0"/>
              <c:showSerName val="0"/>
              <c:showPercent val="0"/>
              <c:showBubbleSize val="0"/>
            </c:dLbl>
            <c:dLbl>
              <c:idx val="1"/>
              <c:tx>
                <c:rich>
                  <a:bodyPr/>
                  <a:lstStyle/>
                  <a:p>
                    <a:r>
                      <a:rPr>
                        <a:solidFill>
                          <a:srgbClr val="FFFFFF"/>
                        </a:solidFill>
                      </a:rPr>
                      <a:t>48.6</a:t>
                    </a:r>
                  </a:p>
                </c:rich>
              </c:tx>
              <c:showLegendKey val="0"/>
              <c:showVal val="1"/>
              <c:showCatName val="0"/>
              <c:showSerName val="0"/>
              <c:showPercent val="0"/>
              <c:showBubbleSize val="0"/>
            </c:dLbl>
            <c:dLbl>
              <c:idx val="2"/>
              <c:tx>
                <c:rich>
                  <a:bodyPr/>
                  <a:lstStyle/>
                  <a:p>
                    <a:r>
                      <a:rPr>
                        <a:solidFill>
                          <a:srgbClr val="FFFFFF"/>
                        </a:solidFill>
                      </a:rPr>
                      <a:t>1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6.095062</c:v>
                </c:pt>
                <c:pt idx="1">
                  <c:v>48.6335</c:v>
                </c:pt>
                <c:pt idx="2">
                  <c:v>17.04755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Tanning</c:v>
                </c:pt>
              </c:strCache>
            </c:strRef>
          </c:tx>
          <c:spPr>
            <a:solidFill>
              <a:srgbClr val="7F7F7F"/>
            </a:solidFill>
            <a:ln>
              <a:solidFill>
                <a:schemeClr val="bg1"/>
              </a:solidFill>
            </a:ln>
            <a:effectLst/>
          </c:spPr>
          <c:invertIfNegative val="0"/>
          <c:dLbls>
            <c:dLbl>
              <c:idx val="0"/>
              <c:tx>
                <c:rich>
                  <a:bodyPr/>
                  <a:lstStyle/>
                  <a:p>
                    <a:r>
                      <a:rPr>
                        <a:solidFill>
                          <a:srgbClr val="FFFFFF"/>
                        </a:solidFill>
                      </a:rPr>
                      <a:t>53.7</a:t>
                    </a:r>
                  </a:p>
                </c:rich>
              </c:tx>
              <c:showLegendKey val="0"/>
              <c:showVal val="1"/>
              <c:showCatName val="0"/>
              <c:showSerName val="0"/>
              <c:showPercent val="0"/>
              <c:showBubbleSize val="0"/>
            </c:dLbl>
            <c:dLbl>
              <c:idx val="1"/>
              <c:tx>
                <c:rich>
                  <a:bodyPr/>
                  <a:lstStyle/>
                  <a:p>
                    <a:r>
                      <a:rPr>
                        <a:solidFill>
                          <a:srgbClr val="FFFFFF"/>
                        </a:solidFill>
                      </a:rPr>
                      <a:t>47.0</a:t>
                    </a:r>
                  </a:p>
                </c:rich>
              </c:tx>
              <c:showLegendKey val="0"/>
              <c:showVal val="1"/>
              <c:showCatName val="0"/>
              <c:showSerName val="0"/>
              <c:showPercent val="0"/>
              <c:showBubbleSize val="0"/>
            </c:dLbl>
            <c:dLbl>
              <c:idx val="2"/>
              <c:tx>
                <c:rich>
                  <a:bodyPr/>
                  <a:lstStyle/>
                  <a:p>
                    <a:r>
                      <a:rPr>
                        <a:solidFill>
                          <a:srgbClr val="FFFFFF"/>
                        </a:solidFill>
                      </a:rPr>
                      <a:t>1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3.695074</c:v>
                </c:pt>
                <c:pt idx="1">
                  <c:v>47.044923</c:v>
                </c:pt>
                <c:pt idx="2">
                  <c:v>18.40636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3892.5</a:t>
                    </a:r>
                  </a:p>
                </c:rich>
              </c:tx>
              <c:showLegendKey val="0"/>
              <c:showVal val="1"/>
              <c:showCatName val="0"/>
              <c:showSerName val="0"/>
              <c:showPercent val="0"/>
              <c:showBubbleSize val="0"/>
            </c:dLbl>
            <c:dLbl>
              <c:idx val="1"/>
              <c:tx>
                <c:rich>
                  <a:bodyPr/>
                  <a:lstStyle/>
                  <a:p>
                    <a:r>
                      <a:rPr>
                        <a:solidFill>
                          <a:srgbClr val="FFFFFF"/>
                        </a:solidFill>
                      </a:rPr>
                      <a:t>4166.1</a:t>
                    </a:r>
                  </a:p>
                </c:rich>
              </c:tx>
              <c:showLegendKey val="0"/>
              <c:showVal val="1"/>
              <c:showCatName val="0"/>
              <c:showSerName val="0"/>
              <c:showPercent val="0"/>
              <c:showBubbleSize val="0"/>
            </c:dLbl>
            <c:dLbl>
              <c:idx val="2"/>
              <c:tx>
                <c:rich>
                  <a:bodyPr/>
                  <a:lstStyle/>
                  <a:p>
                    <a:r>
                      <a:rPr>
                        <a:solidFill>
                          <a:srgbClr val="FFFFFF"/>
                        </a:solidFill>
                      </a:rPr>
                      <a:t>146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892.49831</c:v>
                </c:pt>
                <c:pt idx="1">
                  <c:v>4166.144106</c:v>
                </c:pt>
                <c:pt idx="2">
                  <c:v>1462.8079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0283</c:v>
                </c:pt>
                <c:pt idx="1">
                  <c:v>0.218936</c:v>
                </c:pt>
                <c:pt idx="2">
                  <c:v>0.07702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204</c:v>
                </c:pt>
                <c:pt idx="1">
                  <c:v>0.008037</c:v>
                </c:pt>
                <c:pt idx="2">
                  <c:v>0.00289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046</c:v>
                </c:pt>
                <c:pt idx="1">
                  <c:v>0.015208</c:v>
                </c:pt>
                <c:pt idx="2">
                  <c:v>0.00568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515</c:v>
                </c:pt>
                <c:pt idx="1">
                  <c:v>3.2e-05</c:v>
                </c:pt>
                <c:pt idx="2">
                  <c:v>0.0</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295462</c:v>
                </c:pt>
                <c:pt idx="1">
                  <c:v>0.242213</c:v>
                </c:pt>
                <c:pt idx="2">
                  <c:v>0.08560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a:solidFill>
                          <a:srgbClr val="FFFFFF"/>
                        </a:solidFill>
                      </a:rPr>
                      <a:t>244.5</a:t>
                    </a:r>
                  </a:p>
                </c:rich>
              </c:tx>
              <c:showLegendKey val="0"/>
              <c:showVal val="1"/>
              <c:showCatName val="0"/>
              <c:showSerName val="0"/>
              <c:showPercent val="0"/>
              <c:showBubbleSize val="0"/>
            </c:dLbl>
            <c:dLbl>
              <c:idx val="1"/>
              <c:tx>
                <c:rich>
                  <a:bodyPr/>
                  <a:lstStyle/>
                  <a:p>
                    <a:r>
                      <a:rPr>
                        <a:solidFill>
                          <a:srgbClr val="FFFFFF"/>
                        </a:solidFill>
                      </a:rPr>
                      <a:t>235.4</a:t>
                    </a:r>
                  </a:p>
                </c:rich>
              </c:tx>
              <c:showLegendKey val="0"/>
              <c:showVal val="1"/>
              <c:showCatName val="0"/>
              <c:showSerName val="0"/>
              <c:showPercent val="0"/>
              <c:showBubbleSize val="0"/>
            </c:dLbl>
            <c:dLbl>
              <c:idx val="2"/>
              <c:tx>
                <c:rich>
                  <a:bodyPr/>
                  <a:lstStyle/>
                  <a:p>
                    <a:r>
                      <a:rPr>
                        <a:solidFill>
                          <a:srgbClr val="FFFFFF"/>
                        </a:solidFill>
                      </a:rPr>
                      <a:t>8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44.547146</c:v>
                </c:pt>
                <c:pt idx="1">
                  <c:v>235.412024</c:v>
                </c:pt>
                <c:pt idx="2">
                  <c:v>82.05820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341879</c:v>
                </c:pt>
                <c:pt idx="1">
                  <c:v>7.47531</c:v>
                </c:pt>
                <c:pt idx="2">
                  <c:v>2.89667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a:solidFill>
                          <a:srgbClr val="FFFFFF"/>
                        </a:solidFill>
                      </a:rPr>
                      <a:t>8.9</a:t>
                    </a:r>
                  </a:p>
                </c:rich>
              </c:tx>
              <c:showLegendKey val="0"/>
              <c:showVal val="1"/>
              <c:showCatName val="0"/>
              <c:showSerName val="0"/>
              <c:showPercent val="0"/>
              <c:showBubbleSize val="0"/>
            </c:dLbl>
            <c:dLbl>
              <c:idx val="1"/>
              <c:tx>
                <c:rich>
                  <a:bodyPr/>
                  <a:lstStyle/>
                  <a:p>
                    <a:r>
                      <a:rPr>
                        <a:solidFill>
                          <a:srgbClr val="FFFFFF"/>
                        </a:solidFill>
                      </a:rPr>
                      <a:t>7.4</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870445</c:v>
                </c:pt>
                <c:pt idx="1">
                  <c:v>7.444057</c:v>
                </c:pt>
                <c:pt idx="2">
                  <c:v>2.83905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36064</c:v>
                </c:pt>
                <c:pt idx="1">
                  <c:v>0.008985</c:v>
                </c:pt>
                <c:pt idx="2">
                  <c:v>0.0</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265.1</a:t>
                    </a:r>
                  </a:p>
                </c:rich>
              </c:tx>
              <c:showLegendKey val="0"/>
              <c:showVal val="1"/>
              <c:showCatName val="0"/>
              <c:showSerName val="0"/>
              <c:showPercent val="0"/>
              <c:showBubbleSize val="0"/>
            </c:dLbl>
            <c:dLbl>
              <c:idx val="1"/>
              <c:tx>
                <c:rich>
                  <a:bodyPr/>
                  <a:lstStyle/>
                  <a:p>
                    <a:r>
                      <a:rPr>
                        <a:solidFill>
                          <a:srgbClr val="FFFFFF"/>
                        </a:solidFill>
                      </a:rPr>
                      <a:t>250.3</a:t>
                    </a:r>
                  </a:p>
                </c:rich>
              </c:tx>
              <c:showLegendKey val="0"/>
              <c:showVal val="1"/>
              <c:showCatName val="0"/>
              <c:showSerName val="0"/>
              <c:showPercent val="0"/>
              <c:showBubbleSize val="0"/>
            </c:dLbl>
            <c:dLbl>
              <c:idx val="2"/>
              <c:tx>
                <c:rich>
                  <a:bodyPr/>
                  <a:lstStyle/>
                  <a:p>
                    <a:r>
                      <a:rPr>
                        <a:solidFill>
                          <a:srgbClr val="FFFFFF"/>
                        </a:solidFill>
                      </a:rPr>
                      <a:t>8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65.12011</c:v>
                </c:pt>
                <c:pt idx="1">
                  <c:v>250.340376</c:v>
                </c:pt>
                <c:pt idx="2">
                  <c:v>87.7939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12627</c:v>
                </c:pt>
                <c:pt idx="1">
                  <c:v>1.498372</c:v>
                </c:pt>
                <c:pt idx="2">
                  <c:v>0.53555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anded Pack</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0478</c:v>
                </c:pt>
                <c:pt idx="1">
                  <c:v>0.012409</c:v>
                </c:pt>
                <c:pt idx="2">
                  <c:v>0.0017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0594</c:v>
                </c:pt>
                <c:pt idx="1">
                  <c:v>0.081048</c:v>
                </c:pt>
                <c:pt idx="2">
                  <c:v>0.0282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Tannin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2161</c:v>
                </c:pt>
                <c:pt idx="1">
                  <c:v>0.040889</c:v>
                </c:pt>
                <c:pt idx="2">
                  <c:v>0.01579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78586</c:v>
                </c:pt>
                <c:pt idx="1">
                  <c:v>1.632718</c:v>
                </c:pt>
                <c:pt idx="2">
                  <c:v>0.58133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a:solidFill>
                          <a:srgbClr val="FFFFFF"/>
                        </a:solidFill>
                      </a:rPr>
                      <a:t>3421.0</a:t>
                    </a:r>
                  </a:p>
                </c:rich>
              </c:tx>
              <c:showLegendKey val="0"/>
              <c:showVal val="1"/>
              <c:showCatName val="0"/>
              <c:showSerName val="0"/>
              <c:showPercent val="0"/>
              <c:showBubbleSize val="0"/>
            </c:dLbl>
            <c:dLbl>
              <c:idx val="1"/>
              <c:tx>
                <c:rich>
                  <a:bodyPr/>
                  <a:lstStyle/>
                  <a:p>
                    <a:r>
                      <a:rPr>
                        <a:solidFill>
                          <a:srgbClr val="FFFFFF"/>
                        </a:solidFill>
                      </a:rPr>
                      <a:t>3628.2</a:t>
                    </a:r>
                  </a:p>
                </c:rich>
              </c:tx>
              <c:showLegendKey val="0"/>
              <c:showVal val="1"/>
              <c:showCatName val="0"/>
              <c:showSerName val="0"/>
              <c:showPercent val="0"/>
              <c:showBubbleSize val="0"/>
            </c:dLbl>
            <c:dLbl>
              <c:idx val="2"/>
              <c:tx>
                <c:rich>
                  <a:bodyPr/>
                  <a:lstStyle/>
                  <a:p>
                    <a:r>
                      <a:rPr>
                        <a:solidFill>
                          <a:srgbClr val="FFFFFF"/>
                        </a:solidFill>
                      </a:rPr>
                      <a:t>129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421.026891</c:v>
                </c:pt>
                <c:pt idx="1">
                  <c:v>3628.231524</c:v>
                </c:pt>
                <c:pt idx="2">
                  <c:v>1291.5895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anded Pack</c:v>
                </c:pt>
              </c:strCache>
            </c:strRef>
          </c:tx>
          <c:spPr>
            <a:solidFill>
              <a:srgbClr val="A6A6A6"/>
            </a:solidFill>
            <a:ln>
              <a:solidFill>
                <a:schemeClr val="bg1"/>
              </a:solidFill>
            </a:ln>
            <a:effectLst/>
          </c:spPr>
          <c:invertIfNegative val="0"/>
          <c:dLbls>
            <c:dLbl>
              <c:idx val="0"/>
              <c:tx>
                <c:rich>
                  <a:bodyPr/>
                  <a:lstStyle/>
                  <a:p>
                    <a:r>
                      <a:rPr>
                        <a:solidFill>
                          <a:srgbClr val="FFFFFF"/>
                        </a:solidFill>
                      </a:rPr>
                      <a:t>39.1</a:t>
                    </a:r>
                  </a:p>
                </c:rich>
              </c:tx>
              <c:showLegendKey val="0"/>
              <c:showVal val="1"/>
              <c:showCatName val="0"/>
              <c:showSerName val="0"/>
              <c:showPercent val="0"/>
              <c:showBubbleSize val="0"/>
            </c:dLbl>
            <c:dLbl>
              <c:idx val="1"/>
              <c:tx>
                <c:rich>
                  <a:bodyPr/>
                  <a:lstStyle/>
                  <a:p>
                    <a:r>
                      <a:rPr>
                        <a:solidFill>
                          <a:srgbClr val="FFFFFF"/>
                        </a:solidFill>
                      </a:rPr>
                      <a:t>86.3</a:t>
                    </a:r>
                  </a:p>
                </c:rich>
              </c:tx>
              <c:showLegendKey val="0"/>
              <c:showVal val="1"/>
              <c:showCatName val="0"/>
              <c:showSerName val="0"/>
              <c:showPercent val="0"/>
              <c:showBubbleSize val="0"/>
            </c:dLbl>
            <c:dLbl>
              <c:idx val="2"/>
              <c:tx>
                <c:rich>
                  <a:bodyPr/>
                  <a:lstStyle/>
                  <a:p>
                    <a:r>
                      <a:rPr>
                        <a:solidFill>
                          <a:srgbClr val="FFFFFF"/>
                        </a:solidFill>
                      </a:rPr>
                      <a:t>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9.063634</c:v>
                </c:pt>
                <c:pt idx="1">
                  <c:v>86.331086</c:v>
                </c:pt>
                <c:pt idx="2">
                  <c:v>8.8321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a:solidFill>
                          <a:srgbClr val="FFFFFF"/>
                        </a:solidFill>
                      </a:rPr>
                      <a:t>53.7</a:t>
                    </a:r>
                  </a:p>
                </c:rich>
              </c:tx>
              <c:showLegendKey val="0"/>
              <c:showVal val="1"/>
              <c:showCatName val="0"/>
              <c:showSerName val="0"/>
              <c:showPercent val="0"/>
              <c:showBubbleSize val="0"/>
            </c:dLbl>
            <c:dLbl>
              <c:idx val="1"/>
              <c:tx>
                <c:rich>
                  <a:bodyPr/>
                  <a:lstStyle/>
                  <a:p>
                    <a:r>
                      <a:rPr>
                        <a:solidFill>
                          <a:srgbClr val="FFFFFF"/>
                        </a:solidFill>
                      </a:rPr>
                      <a:t>46.1</a:t>
                    </a:r>
                  </a:p>
                </c:rich>
              </c:tx>
              <c:showLegendKey val="0"/>
              <c:showVal val="1"/>
              <c:showCatName val="0"/>
              <c:showSerName val="0"/>
              <c:showPercent val="0"/>
              <c:showBubbleSize val="0"/>
            </c:dLbl>
            <c:dLbl>
              <c:idx val="2"/>
              <c:tx>
                <c:rich>
                  <a:bodyPr/>
                  <a:lstStyle/>
                  <a:p>
                    <a:r>
                      <a:rPr>
                        <a:solidFill>
                          <a:srgbClr val="FFFFFF"/>
                        </a:solidFill>
                      </a:rPr>
                      <a:t>1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3.701885</c:v>
                </c:pt>
                <c:pt idx="1">
                  <c:v>46.07271</c:v>
                </c:pt>
                <c:pt idx="2">
                  <c:v>16.52200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Tanning</c:v>
                </c:pt>
              </c:strCache>
            </c:strRef>
          </c:tx>
          <c:spPr>
            <a:solidFill>
              <a:srgbClr val="7F7F7F"/>
            </a:solidFill>
            <a:ln>
              <a:solidFill>
                <a:schemeClr val="bg1"/>
              </a:solidFill>
            </a:ln>
            <a:effectLst/>
          </c:spPr>
          <c:invertIfNegative val="0"/>
          <c:dLbls>
            <c:dLbl>
              <c:idx val="0"/>
              <c:tx>
                <c:rich>
                  <a:bodyPr/>
                  <a:lstStyle/>
                  <a:p>
                    <a:r>
                      <a:rPr>
                        <a:solidFill>
                          <a:srgbClr val="FFFFFF"/>
                        </a:solidFill>
                      </a:rPr>
                      <a:t>52.3</a:t>
                    </a:r>
                  </a:p>
                </c:rich>
              </c:tx>
              <c:showLegendKey val="0"/>
              <c:showVal val="1"/>
              <c:showCatName val="0"/>
              <c:showSerName val="0"/>
              <c:showPercent val="0"/>
              <c:showBubbleSize val="0"/>
            </c:dLbl>
            <c:dLbl>
              <c:idx val="1"/>
              <c:tx>
                <c:rich>
                  <a:bodyPr/>
                  <a:lstStyle/>
                  <a:p>
                    <a:r>
                      <a:rPr>
                        <a:solidFill>
                          <a:srgbClr val="FFFFFF"/>
                        </a:solidFill>
                      </a:rPr>
                      <a:t>45.8</a:t>
                    </a:r>
                  </a:p>
                </c:rich>
              </c:tx>
              <c:showLegendKey val="0"/>
              <c:showVal val="1"/>
              <c:showCatName val="0"/>
              <c:showSerName val="0"/>
              <c:showPercent val="0"/>
              <c:showBubbleSize val="0"/>
            </c:dLbl>
            <c:dLbl>
              <c:idx val="2"/>
              <c:tx>
                <c:rich>
                  <a:bodyPr/>
                  <a:lstStyle/>
                  <a:p>
                    <a:r>
                      <a:rPr>
                        <a:solidFill>
                          <a:srgbClr val="FFFFFF"/>
                        </a:solidFill>
                      </a:rPr>
                      <a:t>1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2.261461</c:v>
                </c:pt>
                <c:pt idx="1">
                  <c:v>45.751523</c:v>
                </c:pt>
                <c:pt idx="2">
                  <c:v>18.09661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3566.1</a:t>
                    </a:r>
                  </a:p>
                </c:rich>
              </c:tx>
              <c:showLegendKey val="0"/>
              <c:showVal val="1"/>
              <c:showCatName val="0"/>
              <c:showSerName val="0"/>
              <c:showPercent val="0"/>
              <c:showBubbleSize val="0"/>
            </c:dLbl>
            <c:dLbl>
              <c:idx val="1"/>
              <c:tx>
                <c:rich>
                  <a:bodyPr/>
                  <a:lstStyle/>
                  <a:p>
                    <a:r>
                      <a:rPr>
                        <a:solidFill>
                          <a:srgbClr val="FFFFFF"/>
                        </a:solidFill>
                      </a:rPr>
                      <a:t>3806.4</a:t>
                    </a:r>
                  </a:p>
                </c:rich>
              </c:tx>
              <c:showLegendKey val="0"/>
              <c:showVal val="1"/>
              <c:showCatName val="0"/>
              <c:showSerName val="0"/>
              <c:showPercent val="0"/>
              <c:showBubbleSize val="0"/>
            </c:dLbl>
            <c:dLbl>
              <c:idx val="2"/>
              <c:tx>
                <c:rich>
                  <a:bodyPr/>
                  <a:lstStyle/>
                  <a:p>
                    <a:r>
                      <a:rPr>
                        <a:solidFill>
                          <a:srgbClr val="FFFFFF"/>
                        </a:solidFill>
                      </a:rPr>
                      <a:t>133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566.053871</c:v>
                </c:pt>
                <c:pt idx="1">
                  <c:v>3806.386843</c:v>
                </c:pt>
                <c:pt idx="2">
                  <c:v>1335.0402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0074</c:v>
                </c:pt>
                <c:pt idx="1">
                  <c:v>0.020682</c:v>
                </c:pt>
                <c:pt idx="2">
                  <c:v>0.0053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After Su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662</c:v>
                </c:pt>
                <c:pt idx="1">
                  <c:v>0.000671</c:v>
                </c:pt>
                <c:pt idx="2">
                  <c:v>0.0</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Tanning</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5e-05</c:v>
                </c:pt>
                <c:pt idx="1">
                  <c:v>2e-05</c:v>
                </c:pt>
                <c:pt idx="2">
                  <c:v>0.0</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e-05</c:v>
                </c:pt>
                <c:pt idx="1">
                  <c:v>0.000213</c:v>
                </c:pt>
                <c:pt idx="2">
                  <c:v>0.0</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0861</c:v>
                </c:pt>
                <c:pt idx="1">
                  <c:v>0.021586</c:v>
                </c:pt>
                <c:pt idx="2">
                  <c:v>0.00539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a:solidFill>
                          <a:srgbClr val="FFFFFF"/>
                        </a:solidFill>
                      </a:rPr>
                      <a:t>13.3</a:t>
                    </a:r>
                  </a:p>
                </c:rich>
              </c:tx>
              <c:showLegendKey val="0"/>
              <c:showVal val="1"/>
              <c:showCatName val="0"/>
              <c:showSerName val="0"/>
              <c:showPercent val="0"/>
              <c:showBubbleSize val="0"/>
            </c:dLbl>
            <c:dLbl>
              <c:idx val="1"/>
              <c:tx>
                <c:rich>
                  <a:bodyPr/>
                  <a:lstStyle/>
                  <a:p>
                    <a:r>
                      <a:rPr>
                        <a:solidFill>
                          <a:srgbClr val="FFFFFF"/>
                        </a:solidFill>
                      </a:rPr>
                      <a:t>9.5</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58738</c:v>
                </c:pt>
                <c:pt idx="1">
                  <c:v>9.477099</c:v>
                </c:pt>
                <c:pt idx="2">
                  <c:v>2.1934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8.3</a:t>
                    </a:r>
                  </a:p>
                </c:rich>
              </c:tx>
              <c:showLegendKey val="0"/>
              <c:showVal val="1"/>
              <c:showCatName val="0"/>
              <c:showSerName val="0"/>
              <c:showPercent val="0"/>
              <c:showBubbleSize val="0"/>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303492</c:v>
                </c:pt>
                <c:pt idx="1">
                  <c:v>3.41858</c:v>
                </c:pt>
                <c:pt idx="2">
                  <c:v>0.68024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nds.Lavin De Mexico</c:v>
                </c:pt>
              </c:strCache>
            </c:strRef>
          </c:tx>
          <c:spPr>
            <a:solidFill>
              <a:srgbClr val="9B9898"/>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348921</c:v>
                </c:pt>
                <c:pt idx="1">
                  <c:v>1.343348</c:v>
                </c:pt>
                <c:pt idx="2">
                  <c:v>0.1634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Total Care De Mexico</c:v>
                </c:pt>
              </c:strCache>
            </c:strRef>
          </c:tx>
          <c:spPr>
            <a:solidFill>
              <a:srgbClr val="7F7F7F"/>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70695</c:v>
                </c:pt>
                <c:pt idx="1">
                  <c:v>1.550519</c:v>
                </c:pt>
                <c:pt idx="2">
                  <c:v>0.34322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92058</c:v>
                </c:pt>
                <c:pt idx="1">
                  <c:v>1.828028</c:v>
                </c:pt>
                <c:pt idx="2">
                  <c:v>1.09209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ierre Fabre</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180859</c:v>
                </c:pt>
                <c:pt idx="1">
                  <c:v>0.176853</c:v>
                </c:pt>
                <c:pt idx="2">
                  <c:v>0.0</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6.391413</c:v>
                </c:pt>
                <c:pt idx="1">
                  <c:v>8.819547</c:v>
                </c:pt>
                <c:pt idx="2">
                  <c:v>2.9017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a:solidFill>
                          <a:srgbClr val="FFFFFF"/>
                        </a:solidFill>
                      </a:rPr>
                      <a:t>36.0</a:t>
                    </a:r>
                  </a:p>
                </c:rich>
              </c:tx>
              <c:showLegendKey val="0"/>
              <c:showVal val="1"/>
              <c:showCatName val="0"/>
              <c:showSerName val="0"/>
              <c:showPercent val="0"/>
              <c:showBubbleSize val="0"/>
            </c:dLbl>
            <c:dLbl>
              <c:idx val="1"/>
              <c:tx>
                <c:rich>
                  <a:bodyPr/>
                  <a:lstStyle/>
                  <a:p>
                    <a:r>
                      <a:rPr>
                        <a:solidFill>
                          <a:srgbClr val="FFFFFF"/>
                        </a:solidFill>
                      </a:rPr>
                      <a:t>26.1</a:t>
                    </a:r>
                  </a:p>
                </c:rich>
              </c:tx>
              <c:showLegendKey val="0"/>
              <c:showVal val="1"/>
              <c:showCatName val="0"/>
              <c:showSerName val="0"/>
              <c:showPercent val="0"/>
              <c:showBubbleSize val="0"/>
            </c:dLbl>
            <c:dLbl>
              <c:idx val="2"/>
              <c:tx>
                <c:rich>
                  <a:bodyPr/>
                  <a:lstStyle/>
                  <a:p>
                    <a:r>
                      <a:rPr>
                        <a:solidFill>
                          <a:srgbClr val="FFFFFF"/>
                        </a:solidFill>
                      </a:rPr>
                      <a:t>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6.025967</c:v>
                </c:pt>
                <c:pt idx="1">
                  <c:v>26.123538</c:v>
                </c:pt>
                <c:pt idx="2">
                  <c:v>7.374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After Sun</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46144</c:v>
                </c:pt>
                <c:pt idx="1">
                  <c:v>0.389076</c:v>
                </c:pt>
                <c:pt idx="2">
                  <c:v>0.0</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Tanning</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942</c:v>
                </c:pt>
                <c:pt idx="1">
                  <c:v>0.017069</c:v>
                </c:pt>
                <c:pt idx="2">
                  <c:v>0.00024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4645</c:v>
                </c:pt>
                <c:pt idx="1">
                  <c:v>0.084291</c:v>
                </c:pt>
                <c:pt idx="2">
                  <c:v>0.0</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36.5</a:t>
                    </a:r>
                  </a:p>
                </c:rich>
              </c:tx>
              <c:showLegendKey val="0"/>
              <c:showVal val="1"/>
              <c:showCatName val="0"/>
              <c:showSerName val="0"/>
              <c:showPercent val="0"/>
              <c:showBubbleSize val="0"/>
            </c:dLbl>
            <c:dLbl>
              <c:idx val="1"/>
              <c:tx>
                <c:rich>
                  <a:bodyPr/>
                  <a:lstStyle/>
                  <a:p>
                    <a:r>
                      <a:rPr>
                        <a:solidFill>
                          <a:srgbClr val="FFFFFF"/>
                        </a:solidFill>
                      </a:rPr>
                      <a:t>26.6</a:t>
                    </a:r>
                  </a:p>
                </c:rich>
              </c:tx>
              <c:showLegendKey val="0"/>
              <c:showVal val="1"/>
              <c:showCatName val="0"/>
              <c:showSerName val="0"/>
              <c:showPercent val="0"/>
              <c:showBubbleSize val="0"/>
            </c:dLbl>
            <c:dLbl>
              <c:idx val="2"/>
              <c:tx>
                <c:rich>
                  <a:bodyPr/>
                  <a:lstStyle/>
                  <a:p>
                    <a:r>
                      <a:rPr>
                        <a:solidFill>
                          <a:srgbClr val="FFFFFF"/>
                        </a:solidFill>
                      </a:rPr>
                      <a:t>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6.546176</c:v>
                </c:pt>
                <c:pt idx="1">
                  <c:v>26.613974</c:v>
                </c:pt>
                <c:pt idx="2">
                  <c:v>7.3742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50086</c:v>
                </c:pt>
                <c:pt idx="1">
                  <c:v>1.02148</c:v>
                </c:pt>
                <c:pt idx="2">
                  <c:v>0.3579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916</c:v>
                </c:pt>
                <c:pt idx="1">
                  <c:v>0.029475</c:v>
                </c:pt>
                <c:pt idx="2">
                  <c:v>0.0113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0874</c:v>
                </c:pt>
                <c:pt idx="1">
                  <c:v>0.044736</c:v>
                </c:pt>
                <c:pt idx="2">
                  <c:v>0.01628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4521</c:v>
                </c:pt>
                <c:pt idx="1">
                  <c:v>0.004726</c:v>
                </c:pt>
                <c:pt idx="2">
                  <c:v>0.00117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64397</c:v>
                </c:pt>
                <c:pt idx="1">
                  <c:v>1.100417</c:v>
                </c:pt>
                <c:pt idx="2">
                  <c:v>0.3866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a:solidFill>
                          <a:srgbClr val="FFFFFF"/>
                        </a:solidFill>
                      </a:rPr>
                      <a:t>1596.0</a:t>
                    </a:r>
                  </a:p>
                </c:rich>
              </c:tx>
              <c:showLegendKey val="0"/>
              <c:showVal val="1"/>
              <c:showCatName val="0"/>
              <c:showSerName val="0"/>
              <c:showPercent val="0"/>
              <c:showBubbleSize val="0"/>
            </c:dLbl>
            <c:dLbl>
              <c:idx val="1"/>
              <c:tx>
                <c:rich>
                  <a:bodyPr/>
                  <a:lstStyle/>
                  <a:p>
                    <a:r>
                      <a:rPr>
                        <a:solidFill>
                          <a:srgbClr val="FFFFFF"/>
                        </a:solidFill>
                      </a:rPr>
                      <a:t>1616.4</a:t>
                    </a:r>
                  </a:p>
                </c:rich>
              </c:tx>
              <c:showLegendKey val="0"/>
              <c:showVal val="1"/>
              <c:showCatName val="0"/>
              <c:showSerName val="0"/>
              <c:showPercent val="0"/>
              <c:showBubbleSize val="0"/>
            </c:dLbl>
            <c:dLbl>
              <c:idx val="2"/>
              <c:tx>
                <c:rich>
                  <a:bodyPr/>
                  <a:lstStyle/>
                  <a:p>
                    <a:r>
                      <a:rPr>
                        <a:solidFill>
                          <a:srgbClr val="FFFFFF"/>
                        </a:solidFill>
                      </a:rPr>
                      <a:t>56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96.01005</c:v>
                </c:pt>
                <c:pt idx="1">
                  <c:v>1616.376079</c:v>
                </c:pt>
                <c:pt idx="2">
                  <c:v>564.6736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a:solidFill>
                          <a:srgbClr val="FFFFFF"/>
                        </a:solidFill>
                      </a:rPr>
                      <a:t>38.2</a:t>
                    </a:r>
                  </a:p>
                </c:rich>
              </c:tx>
              <c:showLegendKey val="0"/>
              <c:showVal val="1"/>
              <c:showCatName val="0"/>
              <c:showSerName val="0"/>
              <c:showPercent val="0"/>
              <c:showBubbleSize val="0"/>
            </c:dLbl>
            <c:dLbl>
              <c:idx val="1"/>
              <c:tx>
                <c:rich>
                  <a:bodyPr/>
                  <a:lstStyle/>
                  <a:p>
                    <a:r>
                      <a:rPr>
                        <a:solidFill>
                          <a:srgbClr val="FFFFFF"/>
                        </a:solidFill>
                      </a:rPr>
                      <a:t>31.6</a:t>
                    </a:r>
                  </a:p>
                </c:rich>
              </c:tx>
              <c:showLegendKey val="0"/>
              <c:showVal val="1"/>
              <c:showCatName val="0"/>
              <c:showSerName val="0"/>
              <c:showPercent val="0"/>
              <c:showBubbleSize val="0"/>
            </c:dLbl>
            <c:dLbl>
              <c:idx val="2"/>
              <c:tx>
                <c:rich>
                  <a:bodyPr/>
                  <a:lstStyle/>
                  <a:p>
                    <a:r>
                      <a:rPr>
                        <a:solidFill>
                          <a:srgbClr val="FFFFFF"/>
                        </a:solidFill>
                      </a:rPr>
                      <a:t>1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8.182051</c:v>
                </c:pt>
                <c:pt idx="1">
                  <c:v>31.640925</c:v>
                </c:pt>
                <c:pt idx="2">
                  <c:v>12.8624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a:solidFill>
                          <a:srgbClr val="FFFFFF"/>
                        </a:solidFill>
                      </a:rPr>
                      <a:t>30.6</a:t>
                    </a:r>
                  </a:p>
                </c:rich>
              </c:tx>
              <c:showLegendKey val="0"/>
              <c:showVal val="1"/>
              <c:showCatName val="0"/>
              <c:showSerName val="0"/>
              <c:showPercent val="0"/>
              <c:showBubbleSize val="0"/>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0.588402</c:v>
                </c:pt>
                <c:pt idx="1">
                  <c:v>25.07684</c:v>
                </c:pt>
                <c:pt idx="2">
                  <c:v>9.5034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20.3</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5.983211</c:v>
                </c:pt>
                <c:pt idx="1">
                  <c:v>20.324225</c:v>
                </c:pt>
                <c:pt idx="2">
                  <c:v>5.74711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1680.8</a:t>
                    </a:r>
                  </a:p>
                </c:rich>
              </c:tx>
              <c:showLegendKey val="0"/>
              <c:showVal val="1"/>
              <c:showCatName val="0"/>
              <c:showSerName val="0"/>
              <c:showPercent val="0"/>
              <c:showBubbleSize val="0"/>
            </c:dLbl>
            <c:dLbl>
              <c:idx val="1"/>
              <c:tx>
                <c:rich>
                  <a:bodyPr/>
                  <a:lstStyle/>
                  <a:p>
                    <a:r>
                      <a:rPr>
                        <a:solidFill>
                          <a:srgbClr val="FFFFFF"/>
                        </a:solidFill>
                      </a:rPr>
                      <a:t>1693.4</a:t>
                    </a:r>
                  </a:p>
                </c:rich>
              </c:tx>
              <c:showLegendKey val="0"/>
              <c:showVal val="1"/>
              <c:showCatName val="0"/>
              <c:showSerName val="0"/>
              <c:showPercent val="0"/>
              <c:showBubbleSize val="0"/>
            </c:dLbl>
            <c:dLbl>
              <c:idx val="2"/>
              <c:tx>
                <c:rich>
                  <a:bodyPr/>
                  <a:lstStyle/>
                  <a:p>
                    <a:r>
                      <a:rPr>
                        <a:solidFill>
                          <a:srgbClr val="FFFFFF"/>
                        </a:solidFill>
                      </a:rPr>
                      <a:t>59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680.763714</c:v>
                </c:pt>
                <c:pt idx="1">
                  <c:v>1693.418069</c:v>
                </c:pt>
                <c:pt idx="2">
                  <c:v>592.7866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8281</c:v>
                </c:pt>
                <c:pt idx="1">
                  <c:v>0.139488</c:v>
                </c:pt>
                <c:pt idx="2">
                  <c:v>0.04804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793</c:v>
                </c:pt>
                <c:pt idx="1">
                  <c:v>0.005976</c:v>
                </c:pt>
                <c:pt idx="2">
                  <c:v>0.00221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8568</c:v>
                </c:pt>
                <c:pt idx="1">
                  <c:v>0.012251</c:v>
                </c:pt>
                <c:pt idx="2">
                  <c:v>0.00449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515</c:v>
                </c:pt>
                <c:pt idx="1">
                  <c:v>3.2e-05</c:v>
                </c:pt>
                <c:pt idx="2">
                  <c:v>0.0</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8157</c:v>
                </c:pt>
                <c:pt idx="1">
                  <c:v>0.157747</c:v>
                </c:pt>
                <c:pt idx="2">
                  <c:v>0.0547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a:solidFill>
                          <a:srgbClr val="FFFFFF"/>
                        </a:solidFill>
                      </a:rPr>
                      <a:t>156.3</a:t>
                    </a:r>
                  </a:p>
                </c:rich>
              </c:tx>
              <c:showLegendKey val="0"/>
              <c:showVal val="1"/>
              <c:showCatName val="0"/>
              <c:showSerName val="0"/>
              <c:showPercent val="0"/>
              <c:showBubbleSize val="0"/>
            </c:dLbl>
            <c:dLbl>
              <c:idx val="1"/>
              <c:tx>
                <c:rich>
                  <a:bodyPr/>
                  <a:lstStyle/>
                  <a:p>
                    <a:r>
                      <a:rPr>
                        <a:solidFill>
                          <a:srgbClr val="FFFFFF"/>
                        </a:solidFill>
                      </a:rPr>
                      <a:t>157.8</a:t>
                    </a:r>
                  </a:p>
                </c:rich>
              </c:tx>
              <c:showLegendKey val="0"/>
              <c:showVal val="1"/>
              <c:showCatName val="0"/>
              <c:showSerName val="0"/>
              <c:showPercent val="0"/>
              <c:showBubbleSize val="0"/>
            </c:dLbl>
            <c:dLbl>
              <c:idx val="2"/>
              <c:tx>
                <c:rich>
                  <a:bodyPr/>
                  <a:lstStyle/>
                  <a:p>
                    <a:r>
                      <a:rPr>
                        <a:solidFill>
                          <a:srgbClr val="FFFFFF"/>
                        </a:solidFill>
                      </a:rPr>
                      <a:t>5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6.293921</c:v>
                </c:pt>
                <c:pt idx="1">
                  <c:v>157.779069</c:v>
                </c:pt>
                <c:pt idx="2">
                  <c:v>54.16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a:solidFill>
                          <a:srgbClr val="FFFFFF"/>
                        </a:solidFill>
                      </a:rPr>
                      <a:t>7.8</a:t>
                    </a:r>
                  </a:p>
                </c:rich>
              </c:tx>
              <c:showLegendKey val="0"/>
              <c:showVal val="1"/>
              <c:showCatName val="0"/>
              <c:showSerName val="0"/>
              <c:showPercent val="0"/>
              <c:showBubbleSize val="0"/>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844643</c:v>
                </c:pt>
                <c:pt idx="1">
                  <c:v>5.876143</c:v>
                </c:pt>
                <c:pt idx="2">
                  <c:v>2.2207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a:solidFill>
                          <a:srgbClr val="FFFFFF"/>
                        </a:solidFill>
                      </a:rPr>
                      <a:t>8.0</a:t>
                    </a:r>
                  </a:p>
                </c:rich>
              </c:tx>
              <c:showLegendKey val="0"/>
              <c:showVal val="1"/>
              <c:showCatName val="0"/>
              <c:showSerName val="0"/>
              <c:showPercent val="0"/>
              <c:showBubbleSize val="0"/>
            </c:dLbl>
            <c:dLbl>
              <c:idx val="1"/>
              <c:tx>
                <c:rich>
                  <a:bodyPr/>
                  <a:lstStyle/>
                  <a:p>
                    <a:r>
                      <a:rPr>
                        <a:solidFill>
                          <a:srgbClr val="FFFFFF"/>
                        </a:solidFill>
                      </a:rPr>
                      <a:t>6.0</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7.956778</c:v>
                </c:pt>
                <c:pt idx="1">
                  <c:v>6.004023</c:v>
                </c:pt>
                <c:pt idx="2">
                  <c:v>2.20589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anded Pack</c:v>
                </c:pt>
              </c:strCache>
            </c:strRef>
          </c:tx>
          <c:spPr>
            <a:solidFill>
              <a:srgbClr val="7F7F7F"/>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36064</c:v>
                </c:pt>
                <c:pt idx="1">
                  <c:v>0.008985</c:v>
                </c:pt>
                <c:pt idx="2">
                  <c:v>0.0</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173.5</a:t>
                    </a:r>
                  </a:p>
                </c:rich>
              </c:tx>
              <c:showLegendKey val="0"/>
              <c:showVal val="1"/>
              <c:showCatName val="0"/>
              <c:showSerName val="0"/>
              <c:showPercent val="0"/>
              <c:showBubbleSize val="0"/>
            </c:dLbl>
            <c:dLbl>
              <c:idx val="1"/>
              <c:tx>
                <c:rich>
                  <a:bodyPr/>
                  <a:lstStyle/>
                  <a:p>
                    <a:r>
                      <a:rPr>
                        <a:solidFill>
                          <a:srgbClr val="FFFFFF"/>
                        </a:solidFill>
                      </a:rPr>
                      <a:t>169.7</a:t>
                    </a:r>
                  </a:p>
                </c:rich>
              </c:tx>
              <c:showLegendKey val="0"/>
              <c:showVal val="1"/>
              <c:showCatName val="0"/>
              <c:showSerName val="0"/>
              <c:showPercent val="0"/>
              <c:showBubbleSize val="0"/>
            </c:dLbl>
            <c:dLbl>
              <c:idx val="2"/>
              <c:tx>
                <c:rich>
                  <a:bodyPr/>
                  <a:lstStyle/>
                  <a:p>
                    <a:r>
                      <a:rPr>
                        <a:solidFill>
                          <a:srgbClr val="FFFFFF"/>
                        </a:solidFill>
                      </a:rPr>
                      <a:t>5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73.455982</c:v>
                </c:pt>
                <c:pt idx="1">
                  <c:v>169.66822</c:v>
                </c:pt>
                <c:pt idx="2">
                  <c:v>58.5962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5515</c:v>
                </c:pt>
                <c:pt idx="1">
                  <c:v>0.058836</c:v>
                </c:pt>
                <c:pt idx="2">
                  <c:v>0.02066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185</c:v>
                </c:pt>
                <c:pt idx="1">
                  <c:v>0.001369</c:v>
                </c:pt>
                <c:pt idx="2">
                  <c:v>0.0003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105</c:v>
                </c:pt>
                <c:pt idx="1">
                  <c:v>0.002276</c:v>
                </c:pt>
                <c:pt idx="2">
                  <c:v>0.0009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8805</c:v>
                </c:pt>
                <c:pt idx="1">
                  <c:v>0.062481</c:v>
                </c:pt>
                <c:pt idx="2">
                  <c:v>0.0219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a:solidFill>
                          <a:srgbClr val="FFFFFF"/>
                        </a:solidFill>
                      </a:rPr>
                      <a:t>66.9</a:t>
                    </a:r>
                  </a:p>
                </c:rich>
              </c:tx>
              <c:showLegendKey val="0"/>
              <c:showVal val="1"/>
              <c:showCatName val="0"/>
              <c:showSerName val="0"/>
              <c:showPercent val="0"/>
              <c:showBubbleSize val="0"/>
            </c:dLbl>
            <c:dLbl>
              <c:idx val="1"/>
              <c:tx>
                <c:rich>
                  <a:bodyPr/>
                  <a:lstStyle/>
                  <a:p>
                    <a:r>
                      <a:rPr>
                        <a:solidFill>
                          <a:srgbClr val="FFFFFF"/>
                        </a:solidFill>
                      </a:rPr>
                      <a:t>56.4</a:t>
                    </a:r>
                  </a:p>
                </c:rich>
              </c:tx>
              <c:showLegendKey val="0"/>
              <c:showVal val="1"/>
              <c:showCatName val="0"/>
              <c:showSerName val="0"/>
              <c:showPercent val="0"/>
              <c:showBubbleSize val="0"/>
            </c:dLbl>
            <c:dLbl>
              <c:idx val="2"/>
              <c:tx>
                <c:rich>
                  <a:bodyPr/>
                  <a:lstStyle/>
                  <a:p>
                    <a:r>
                      <a:rPr>
                        <a:solidFill>
                          <a:srgbClr val="FFFFFF"/>
                        </a:solidFill>
                      </a:rPr>
                      <a:t>1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6.873372</c:v>
                </c:pt>
                <c:pt idx="1">
                  <c:v>56.351239</c:v>
                </c:pt>
                <c:pt idx="2">
                  <c:v>19.75043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64627</c:v>
                </c:pt>
                <c:pt idx="1">
                  <c:v>0.857806</c:v>
                </c:pt>
                <c:pt idx="2">
                  <c:v>0.3614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87802</c:v>
                </c:pt>
                <c:pt idx="1">
                  <c:v>1.054746</c:v>
                </c:pt>
                <c:pt idx="2">
                  <c:v>0.44144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a:solidFill>
                          <a:srgbClr val="FFFFFF"/>
                        </a:solidFill>
                      </a:rPr>
                      <a:t>68.7</a:t>
                    </a:r>
                  </a:p>
                </c:rich>
              </c:tx>
              <c:showLegendKey val="0"/>
              <c:showVal val="1"/>
              <c:showCatName val="0"/>
              <c:showSerName val="0"/>
              <c:showPercent val="0"/>
              <c:showBubbleSize val="0"/>
            </c:dLbl>
            <c:dLbl>
              <c:idx val="1"/>
              <c:tx>
                <c:rich>
                  <a:bodyPr/>
                  <a:lstStyle/>
                  <a:p>
                    <a:r>
                      <a:rPr>
                        <a:solidFill>
                          <a:srgbClr val="FFFFFF"/>
                        </a:solidFill>
                      </a:rPr>
                      <a:t>58.3</a:t>
                    </a:r>
                  </a:p>
                </c:rich>
              </c:tx>
              <c:showLegendKey val="0"/>
              <c:showVal val="1"/>
              <c:showCatName val="0"/>
              <c:showSerName val="0"/>
              <c:showPercent val="0"/>
              <c:showBubbleSize val="0"/>
            </c:dLbl>
            <c:dLbl>
              <c:idx val="2"/>
              <c:tx>
                <c:rich>
                  <a:bodyPr/>
                  <a:lstStyle/>
                  <a:p>
                    <a:r>
                      <a:rPr>
                        <a:solidFill>
                          <a:srgbClr val="FFFFFF"/>
                        </a:solidFill>
                      </a:rPr>
                      <a:t>2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8.725801</c:v>
                </c:pt>
                <c:pt idx="1">
                  <c:v>58.263791</c:v>
                </c:pt>
                <c:pt idx="2">
                  <c:v>20.5533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003</c:v>
                </c:pt>
                <c:pt idx="1">
                  <c:v>0.009908</c:v>
                </c:pt>
                <c:pt idx="2">
                  <c:v>0.00314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203</c:v>
                </c:pt>
                <c:pt idx="1">
                  <c:v>0.000688</c:v>
                </c:pt>
                <c:pt idx="2">
                  <c:v>0.0002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78</c:v>
                </c:pt>
                <c:pt idx="1">
                  <c:v>0.000681</c:v>
                </c:pt>
                <c:pt idx="2">
                  <c:v>0.000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0986</c:v>
                </c:pt>
                <c:pt idx="1">
                  <c:v>0.011277</c:v>
                </c:pt>
                <c:pt idx="2">
                  <c:v>0.00371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a:solidFill>
                          <a:srgbClr val="FFFFFF"/>
                        </a:solidFill>
                      </a:rPr>
                      <a:t>10.0</a:t>
                    </a:r>
                  </a:p>
                </c:rich>
              </c:tx>
              <c:showLegendKey val="0"/>
              <c:showVal val="1"/>
              <c:showCatName val="0"/>
              <c:showSerName val="0"/>
              <c:showPercent val="0"/>
              <c:showBubbleSize val="0"/>
            </c:dLbl>
            <c:dLbl>
              <c:idx val="1"/>
              <c:tx>
                <c:rich>
                  <a:bodyPr/>
                  <a:lstStyle/>
                  <a:p>
                    <a:r>
                      <a:rPr>
                        <a:solidFill>
                          <a:srgbClr val="FFFFFF"/>
                        </a:solidFill>
                      </a:rPr>
                      <a:t>11.4</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16764</c:v>
                </c:pt>
                <c:pt idx="1">
                  <c:v>11.367054</c:v>
                </c:pt>
                <c:pt idx="2">
                  <c:v>3.4080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04483</c:v>
                </c:pt>
                <c:pt idx="1">
                  <c:v>0.730295</c:v>
                </c:pt>
                <c:pt idx="2">
                  <c:v>0.31209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23512</c:v>
                </c:pt>
                <c:pt idx="1">
                  <c:v>0.383565</c:v>
                </c:pt>
                <c:pt idx="2">
                  <c:v>0.19108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a:solidFill>
                          <a:srgbClr val="FFFFFF"/>
                        </a:solidFill>
                      </a:rPr>
                      <a:t>11.5</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1.544759</c:v>
                </c:pt>
                <c:pt idx="1">
                  <c:v>12.480914</c:v>
                </c:pt>
                <c:pt idx="2">
                  <c:v>3.91123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484</c:v>
                </c:pt>
                <c:pt idx="1">
                  <c:v>0.010704</c:v>
                </c:pt>
                <c:pt idx="2">
                  <c:v>0.0051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3e-05</c:v>
                </c:pt>
                <c:pt idx="1">
                  <c:v>4e-06</c:v>
                </c:pt>
                <c:pt idx="2">
                  <c:v>0.0</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7e-06</c:v>
                </c:pt>
                <c:pt idx="1">
                  <c:v>0.0</c:v>
                </c:pt>
                <c:pt idx="2">
                  <c:v>0.0</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514</c:v>
                </c:pt>
                <c:pt idx="1">
                  <c:v>0.010708</c:v>
                </c:pt>
                <c:pt idx="2">
                  <c:v>0.0051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0775</c:v>
                </c:pt>
                <c:pt idx="1">
                  <c:v>0.364684</c:v>
                </c:pt>
                <c:pt idx="2">
                  <c:v>0.12898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14294</c:v>
                </c:pt>
                <c:pt idx="1">
                  <c:v>0.435143</c:v>
                </c:pt>
                <c:pt idx="2">
                  <c:v>0.15139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85</c:v>
                </c:pt>
                <c:pt idx="1">
                  <c:v>0.017064</c:v>
                </c:pt>
                <c:pt idx="2">
                  <c:v>0.00509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8668</c:v>
                </c:pt>
                <c:pt idx="1">
                  <c:v>0.013906</c:v>
                </c:pt>
                <c:pt idx="2">
                  <c:v>0.00718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J&amp;J</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1756</c:v>
                </c:pt>
                <c:pt idx="1">
                  <c:v>0.031878</c:v>
                </c:pt>
                <c:pt idx="2">
                  <c:v>0.0109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Total Care De Mexic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03695</c:v>
                </c:pt>
                <c:pt idx="1">
                  <c:v>0.113709</c:v>
                </c:pt>
                <c:pt idx="2">
                  <c:v>0.03417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ierre Fab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119</c:v>
                </c:pt>
                <c:pt idx="1">
                  <c:v>0.003889</c:v>
                </c:pt>
                <c:pt idx="2">
                  <c:v>0.00131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nds.Lavin De Mexic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266</c:v>
                </c:pt>
                <c:pt idx="1">
                  <c:v>0.046029</c:v>
                </c:pt>
                <c:pt idx="2">
                  <c:v>0.02293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0974</c:v>
                </c:pt>
                <c:pt idx="1">
                  <c:v>0.074115</c:v>
                </c:pt>
                <c:pt idx="2">
                  <c:v>0.02461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unscreen</c:v>
                </c:pt>
              </c:strCache>
            </c:strRef>
          </c:tx>
          <c:spPr>
            <a:solidFill>
              <a:srgbClr val="00504B"/>
            </a:solidFill>
            <a:ln>
              <a:solidFill>
                <a:schemeClr val="bg1"/>
              </a:solidFill>
            </a:ln>
            <a:effectLst/>
          </c:spPr>
          <c:invertIfNegative val="0"/>
          <c:dLbls>
            <c:dLbl>
              <c:idx val="0"/>
              <c:tx>
                <c:rich>
                  <a:bodyPr/>
                  <a:lstStyle/>
                  <a:p>
                    <a:r>
                      <a:rPr>
                        <a:solidFill>
                          <a:srgbClr val="FFFFFF"/>
                        </a:solidFill>
                      </a:rPr>
                      <a:t>11.4</a:t>
                    </a:r>
                  </a:p>
                </c:rich>
              </c:tx>
              <c:showLegendKey val="0"/>
              <c:showVal val="1"/>
              <c:showCatName val="0"/>
              <c:showSerName val="0"/>
              <c:showPercent val="0"/>
              <c:showBubbleSize val="0"/>
            </c:dLbl>
            <c:dLbl>
              <c:idx val="1"/>
              <c:tx>
                <c:rich>
                  <a:bodyPr/>
                  <a:lstStyle/>
                  <a:p>
                    <a:r>
                      <a:rPr>
                        <a:solidFill>
                          <a:srgbClr val="FFFFFF"/>
                        </a:solidFill>
                      </a:rPr>
                      <a:t>9.9</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363089</c:v>
                </c:pt>
                <c:pt idx="1">
                  <c:v>9.913866</c:v>
                </c:pt>
                <c:pt idx="2">
                  <c:v>4.73011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Tanning</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8126</c:v>
                </c:pt>
                <c:pt idx="1">
                  <c:v>0.011066</c:v>
                </c:pt>
                <c:pt idx="2">
                  <c:v>0.0023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fter Sun</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353</c:v>
                </c:pt>
                <c:pt idx="1">
                  <c:v>0.001723</c:v>
                </c:pt>
                <c:pt idx="2">
                  <c:v>0.00062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a:solidFill>
                          <a:srgbClr val="FFFFFF"/>
                        </a:solidFill>
                      </a:rPr>
                      <a:t>11.4</a:t>
                    </a:r>
                  </a:p>
                </c:rich>
              </c:tx>
              <c:showLegendKey val="0"/>
              <c:showVal val="1"/>
              <c:showCatName val="0"/>
              <c:showSerName val="0"/>
              <c:showPercent val="0"/>
              <c:showBubbleSize val="0"/>
            </c:dLbl>
            <c:dLbl>
              <c:idx val="1"/>
              <c:tx>
                <c:rich>
                  <a:bodyPr/>
                  <a:lstStyle/>
                  <a:p>
                    <a:r>
                      <a:rPr>
                        <a:solidFill>
                          <a:srgbClr val="FFFFFF"/>
                        </a:solidFill>
                      </a:rPr>
                      <a:t>9.9</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1.393568</c:v>
                </c:pt>
                <c:pt idx="1">
                  <c:v>9.926655</c:v>
                </c:pt>
                <c:pt idx="2">
                  <c:v>4.7330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19673660693253</c:v>
                </c:pt>
                <c:pt idx="1">
                  <c:v>0.2700695713764636</c:v>
                </c:pt>
                <c:pt idx="2">
                  <c:v>0.269905519084802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086102079772</c:v>
                </c:pt>
                <c:pt idx="1">
                  <c:v>0.1768181182064949</c:v>
                </c:pt>
                <c:pt idx="2">
                  <c:v>0.182750048967639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315410528720308</c:v>
                </c:pt>
                <c:pt idx="1">
                  <c:v>0.1526956002515195</c:v>
                </c:pt>
                <c:pt idx="2">
                  <c:v>0.145260549722663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119290739011265</c:v>
                </c:pt>
                <c:pt idx="1">
                  <c:v>0.1222497986247046</c:v>
                </c:pt>
                <c:pt idx="2">
                  <c:v>0.1243588962575126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17837713846046</c:v>
                </c:pt>
                <c:pt idx="1">
                  <c:v>0.06292906374084027</c:v>
                </c:pt>
                <c:pt idx="2">
                  <c:v>0.05476474013239697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3036420020950504</c:v>
                </c:pt>
                <c:pt idx="1">
                  <c:v>0.038639558043170576</c:v>
                </c:pt>
                <c:pt idx="2">
                  <c:v>0.0389976118183539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151904438463327</c:v>
                </c:pt>
                <c:pt idx="1">
                  <c:v>0.029372798176559283</c:v>
                </c:pt>
                <c:pt idx="2">
                  <c:v>0.02932744260955455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4469850572651886</c:v>
                </c:pt>
                <c:pt idx="1">
                  <c:v>0.027445493264461746</c:v>
                </c:pt>
                <c:pt idx="2">
                  <c:v>0.02861290996752465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81481080977014</c:v>
                </c:pt>
                <c:pt idx="1">
                  <c:v>0.021635949863132265</c:v>
                </c:pt>
                <c:pt idx="2">
                  <c:v>0.02012730230596531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380609752917273</c:v>
                </c:pt>
                <c:pt idx="1">
                  <c:v>0.09814404845265332</c:v>
                </c:pt>
                <c:pt idx="2">
                  <c:v>0.1058949791335862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047411842783855</c:v>
                </c:pt>
                <c:pt idx="1">
                  <c:v>0.29175082432286586</c:v>
                </c:pt>
                <c:pt idx="2">
                  <c:v>0.293182372809696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156238251358314</c:v>
                </c:pt>
                <c:pt idx="1">
                  <c:v>0.34626626344411676</c:v>
                </c:pt>
                <c:pt idx="2">
                  <c:v>0.352278008601889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179399622411094</c:v>
                </c:pt>
                <c:pt idx="1">
                  <c:v>0.05372580719765467</c:v>
                </c:pt>
                <c:pt idx="2">
                  <c:v>0.0478544238179396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262931859025992</c:v>
                </c:pt>
                <c:pt idx="1">
                  <c:v>0.031998264351587744</c:v>
                </c:pt>
                <c:pt idx="2">
                  <c:v>0.0362479346293679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7161880149954116</c:v>
                </c:pt>
                <c:pt idx="1">
                  <c:v>0.017550863529137088</c:v>
                </c:pt>
                <c:pt idx="2">
                  <c:v>0.01609240425462464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5427991060702442</c:v>
                </c:pt>
                <c:pt idx="1">
                  <c:v>0.026855745150426533</c:v>
                </c:pt>
                <c:pt idx="2">
                  <c:v>0.0265533219242492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8323585839752736</c:v>
                </c:pt>
                <c:pt idx="1">
                  <c:v>0.008781213588276885</c:v>
                </c:pt>
                <c:pt idx="2">
                  <c:v>0.00808583859099366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431900090443817</c:v>
                </c:pt>
                <c:pt idx="1">
                  <c:v>0.005405729842359953</c:v>
                </c:pt>
                <c:pt idx="2">
                  <c:v>0.005443407678904230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67963147077563</c:v>
                </c:pt>
                <c:pt idx="1">
                  <c:v>0.08508091249292415</c:v>
                </c:pt>
                <c:pt idx="2">
                  <c:v>0.0725425003924787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401310899729791</c:v>
                </c:pt>
                <c:pt idx="1">
                  <c:v>0.13258437608065038</c:v>
                </c:pt>
                <c:pt idx="2">
                  <c:v>0.14171978729985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2278378763729</c:v>
                </c:pt>
                <c:pt idx="1">
                  <c:v>0.2717835053739965</c:v>
                </c:pt>
                <c:pt idx="2">
                  <c:v>0.271241959081564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959823688541243</c:v>
                </c:pt>
                <c:pt idx="1">
                  <c:v>0.18666292741806853</c:v>
                </c:pt>
                <c:pt idx="2">
                  <c:v>0.1931994239155091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06015885983793</c:v>
                </c:pt>
                <c:pt idx="1">
                  <c:v>0.14829418718648088</c:v>
                </c:pt>
                <c:pt idx="2">
                  <c:v>0.1425330050715773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32984958515788</c:v>
                </c:pt>
                <c:pt idx="1">
                  <c:v>0.12475834395899839</c:v>
                </c:pt>
                <c:pt idx="2">
                  <c:v>0.1293467931918878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246323988020315</c:v>
                </c:pt>
                <c:pt idx="1">
                  <c:v>0.06152231411545997</c:v>
                </c:pt>
                <c:pt idx="2">
                  <c:v>0.0516196762243008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4663197243101884</c:v>
                </c:pt>
                <c:pt idx="1">
                  <c:v>0.04165504126087061</c:v>
                </c:pt>
                <c:pt idx="2">
                  <c:v>0.04190551239397810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1794657652831626</c:v>
                </c:pt>
                <c:pt idx="1">
                  <c:v>0.030468832197988974</c:v>
                </c:pt>
                <c:pt idx="2">
                  <c:v>0.0307101587976057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422734684481159</c:v>
                </c:pt>
                <c:pt idx="1">
                  <c:v>0.02783054465281526</c:v>
                </c:pt>
                <c:pt idx="2">
                  <c:v>0.02814645262987870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1965789932958</c:v>
                </c:pt>
                <c:pt idx="1">
                  <c:v>0.022501567636907683</c:v>
                </c:pt>
                <c:pt idx="2">
                  <c:v>0.02081749922931164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227211627280546</c:v>
                </c:pt>
                <c:pt idx="1">
                  <c:v>0.08452273619841325</c:v>
                </c:pt>
                <c:pt idx="2">
                  <c:v>0.0904795194643865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227655023350096</c:v>
                </c:pt>
                <c:pt idx="1">
                  <c:v>0.2961546329494744</c:v>
                </c:pt>
                <c:pt idx="2">
                  <c:v>0.2965434910499571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817656479231294</c:v>
                </c:pt>
                <c:pt idx="1">
                  <c:v>0.3676311524709105</c:v>
                </c:pt>
                <c:pt idx="2">
                  <c:v>0.372889781848081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9405664497777</c:v>
                </c:pt>
                <c:pt idx="1">
                  <c:v>0.05405587492757476</c:v>
                </c:pt>
                <c:pt idx="2">
                  <c:v>0.0484004142168583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2394252628985475</c:v>
                </c:pt>
                <c:pt idx="1">
                  <c:v>0.032243167528011575</c:v>
                </c:pt>
                <c:pt idx="2">
                  <c:v>0.0375203410064368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ierre Fab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846785302319332</c:v>
                </c:pt>
                <c:pt idx="1">
                  <c:v>0.017097869932223446</c:v>
                </c:pt>
                <c:pt idx="2">
                  <c:v>0.01564150287784387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J&amp;J</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6362424826134186</c:v>
                </c:pt>
                <c:pt idx="1">
                  <c:v>0.029161190113663228</c:v>
                </c:pt>
                <c:pt idx="2">
                  <c:v>0.02856341749550175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ioderm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7903755053587628</c:v>
                </c:pt>
                <c:pt idx="1">
                  <c:v>0.008558122100693445</c:v>
                </c:pt>
                <c:pt idx="2">
                  <c:v>0.00772528202181863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f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2035769881177696</c:v>
                </c:pt>
                <c:pt idx="1">
                  <c:v>0.005311388739512886</c:v>
                </c:pt>
                <c:pt idx="2">
                  <c:v>0.00520351327454940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otal Care De Mexic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3307258127736776</c:v>
                </c:pt>
                <c:pt idx="1">
                  <c:v>0.08963764716258411</c:v>
                </c:pt>
                <c:pt idx="2">
                  <c:v>0.0759833349961640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982294244789625</c:v>
                </c:pt>
                <c:pt idx="1">
                  <c:v>0.10014895407535165</c:v>
                </c:pt>
                <c:pt idx="2">
                  <c:v>0.1115289212127884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279412653187026</c:v>
                </c:pt>
                <c:pt idx="1">
                  <c:v>0.3560948470153311</c:v>
                </c:pt>
                <c:pt idx="2">
                  <c:v>0.297452805152619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72054947691381</c:v>
                </c:pt>
                <c:pt idx="1">
                  <c:v>0.1284505651053841</c:v>
                </c:pt>
                <c:pt idx="2">
                  <c:v>0.0922460246568168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ds.Lavin De Mexico</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163533279104222</c:v>
                </c:pt>
                <c:pt idx="1">
                  <c:v>0.050475287907022076</c:v>
                </c:pt>
                <c:pt idx="2">
                  <c:v>0.0221594845536554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Total Care De Mexic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81354065607301</c:v>
                </c:pt>
                <c:pt idx="1">
                  <c:v>0.05825958197749798</c:v>
                </c:pt>
                <c:pt idx="2">
                  <c:v>0.0465437319956730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535412295940347</c:v>
                </c:pt>
                <c:pt idx="1">
                  <c:v>0.06868677334696427</c:v>
                </c:pt>
                <c:pt idx="2">
                  <c:v>0.148094814550432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Pierre Fab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31142431974278</c:v>
                </c:pt>
                <c:pt idx="1">
                  <c:v>0.00664511808721238</c:v>
                </c:pt>
                <c:pt idx="2">
                  <c:v>0.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7488595797273018</c:v>
                </c:pt>
                <c:pt idx="1">
                  <c:v>0.3313878265605881</c:v>
                </c:pt>
                <c:pt idx="2">
                  <c:v>0.39350313909080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830854476523768</c:v>
                </c:pt>
                <c:pt idx="1">
                  <c:v>0.2694338923376262</c:v>
                </c:pt>
                <c:pt idx="2">
                  <c:v>0.23808640830706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892323644729594</c:v>
                </c:pt>
                <c:pt idx="1">
                  <c:v>0.15570277031409246</c:v>
                </c:pt>
                <c:pt idx="2">
                  <c:v>0.102725755609122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ds.Lavin De Mexico</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70914746767765</c:v>
                </c:pt>
                <c:pt idx="1">
                  <c:v>0.07444640044473269</c:v>
                </c:pt>
                <c:pt idx="2">
                  <c:v>0.0381976636380493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Total Care De Mexic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5061080327921972</c:v>
                </c:pt>
                <c:pt idx="1">
                  <c:v>0.12517372370981192</c:v>
                </c:pt>
                <c:pt idx="2">
                  <c:v>0.0995735212312256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Isd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2118855513431191</c:v>
                </c:pt>
                <c:pt idx="1">
                  <c:v>0.01982766607986658</c:v>
                </c:pt>
                <c:pt idx="2">
                  <c:v>0.0337474503986649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Pierre Fab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874015748031496</c:v>
                </c:pt>
                <c:pt idx="1">
                  <c:v>0.000926526452330214</c:v>
                </c:pt>
                <c:pt idx="2">
                  <c:v>0.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4763941544344</c:v>
                </c:pt>
                <c:pt idx="1">
                  <c:v>0.35448902066153987</c:v>
                </c:pt>
                <c:pt idx="2">
                  <c:v>0.487669200815872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iersdorf</c:v>
                </c:pt>
              </c:strCache>
            </c:strRef>
          </c:tx>
          <c:spPr>
            <a:solidFill>
              <a:srgbClr val="BCBBB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445796373255114</c:v>
                </c:pt>
                <c:pt idx="1">
                  <c:v>0.36582159736007874</c:v>
                </c:pt>
                <c:pt idx="2">
                  <c:v>0.3553993840896756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16910559743319</c:v>
                </c:pt>
                <c:pt idx="1">
                  <c:v>0.30052212227812247</c:v>
                </c:pt>
                <c:pt idx="2">
                  <c:v>0.302158226340941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sdi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107106592378514</c:v>
                </c:pt>
                <c:pt idx="1">
                  <c:v>0.06393185355813043</c:v>
                </c:pt>
                <c:pt idx="2">
                  <c:v>0.0604112976429675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Ore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318962052508946</c:v>
                </c:pt>
                <c:pt idx="1">
                  <c:v>0.05980269187738305</c:v>
                </c:pt>
                <c:pt idx="2">
                  <c:v>0.074401766904924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J&amp;J</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8270394264354045</c:v>
                </c:pt>
                <c:pt idx="1">
                  <c:v>0.06086983709868517</c:v>
                </c:pt>
                <c:pt idx="2">
                  <c:v>0.0593488006538528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Total Care De Mexic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715353098109542</c:v>
                </c:pt>
                <c:pt idx="1">
                  <c:v>0.04052521598551574</c:v>
                </c:pt>
                <c:pt idx="2">
                  <c:v>0.037985158912687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Pierre Fab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4856478511529788</c:v>
                </c:pt>
                <c:pt idx="1">
                  <c:v>0.016597908404625626</c:v>
                </c:pt>
                <c:pt idx="2">
                  <c:v>0.01493468929016196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nds.Lavin De Mexic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1073560099477492</c:v>
                </c:pt>
                <c:pt idx="1">
                  <c:v>0.0169385856482201</c:v>
                </c:pt>
                <c:pt idx="2">
                  <c:v>0.02406494595970309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702002893191922</c:v>
                </c:pt>
                <c:pt idx="1">
                  <c:v>0.07499018778923872</c:v>
                </c:pt>
                <c:pt idx="2">
                  <c:v>0.071295730205085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10/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 Id="rId6"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 Id="rId6"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9.xml"/><Relationship Id="rId7" Type="http://schemas.openxmlformats.org/officeDocument/2006/relationships/chart" Target="../charts/chart200.xml"/></Relationships>
</file>

<file path=ppt/slides/_rels/slide101.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1.xml"/><Relationship Id="rId7" Type="http://schemas.openxmlformats.org/officeDocument/2006/relationships/chart" Target="../charts/chart202.xml"/></Relationships>
</file>

<file path=ppt/slides/_rels/slide102.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3.xml"/><Relationship Id="rId7" Type="http://schemas.openxmlformats.org/officeDocument/2006/relationships/chart" Target="../charts/chart204.xml"/></Relationships>
</file>

<file path=ppt/slides/_rels/slide103.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5.xml"/><Relationship Id="rId7" Type="http://schemas.openxmlformats.org/officeDocument/2006/relationships/chart" Target="../charts/chart206.xml"/></Relationships>
</file>

<file path=ppt/slides/_rels/slide104.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7.xml"/><Relationship Id="rId7" Type="http://schemas.openxmlformats.org/officeDocument/2006/relationships/chart" Target="../charts/chart208.xml"/></Relationships>
</file>

<file path=ppt/slides/_rels/slide105.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9.xml"/><Relationship Id="rId7" Type="http://schemas.openxmlformats.org/officeDocument/2006/relationships/chart" Target="../charts/chart210.xml"/></Relationships>
</file>

<file path=ppt/slides/_rels/slide106.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1.xml"/><Relationship Id="rId7" Type="http://schemas.openxmlformats.org/officeDocument/2006/relationships/chart" Target="../charts/chart212.xml"/></Relationships>
</file>

<file path=ppt/slides/_rels/slide107.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3.xml"/><Relationship Id="rId7" Type="http://schemas.openxmlformats.org/officeDocument/2006/relationships/chart" Target="../charts/chart214.xml"/></Relationships>
</file>

<file path=ppt/slides/_rels/slide108.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5.xml"/><Relationship Id="rId7" Type="http://schemas.openxmlformats.org/officeDocument/2006/relationships/chart" Target="../charts/chart216.xml"/></Relationships>
</file>

<file path=ppt/slides/_rels/slide109.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7.xml"/><Relationship Id="rId7" Type="http://schemas.openxmlformats.org/officeDocument/2006/relationships/chart" Target="../charts/chart218.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 Id="rId6" Type="http://schemas.openxmlformats.org/officeDocument/2006/relationships/chart" Target="../charts/chart22.xml"/></Relationships>
</file>

<file path=ppt/slides/_rels/slide110.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9.xml"/><Relationship Id="rId7" Type="http://schemas.openxmlformats.org/officeDocument/2006/relationships/chart" Target="../charts/chart220.xml"/></Relationships>
</file>

<file path=ppt/slides/_rels/slide111.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1.xml"/><Relationship Id="rId7" Type="http://schemas.openxmlformats.org/officeDocument/2006/relationships/chart" Target="../charts/chart222.xml"/></Relationships>
</file>

<file path=ppt/slides/_rels/slide112.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3.xml"/><Relationship Id="rId7" Type="http://schemas.openxmlformats.org/officeDocument/2006/relationships/chart" Target="../charts/chart224.xml"/></Relationships>
</file>

<file path=ppt/slides/_rels/slide113.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5.xml"/><Relationship Id="rId7" Type="http://schemas.openxmlformats.org/officeDocument/2006/relationships/chart" Target="../charts/chart226.xml"/></Relationships>
</file>

<file path=ppt/slides/_rels/slide114.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7.xml"/><Relationship Id="rId7" Type="http://schemas.openxmlformats.org/officeDocument/2006/relationships/chart" Target="../charts/chart228.xml"/></Relationships>
</file>

<file path=ppt/slides/_rels/slide115.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9.xml"/><Relationship Id="rId7" Type="http://schemas.openxmlformats.org/officeDocument/2006/relationships/chart" Target="../charts/chart230.xml"/></Relationships>
</file>

<file path=ppt/slides/_rels/slide116.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1.xml"/><Relationship Id="rId7" Type="http://schemas.openxmlformats.org/officeDocument/2006/relationships/chart" Target="../charts/chart232.xml"/></Relationships>
</file>

<file path=ppt/slides/_rels/slide117.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3.xml"/><Relationship Id="rId7" Type="http://schemas.openxmlformats.org/officeDocument/2006/relationships/chart" Target="../charts/chart234.xml"/></Relationships>
</file>

<file path=ppt/slides/_rels/slide118.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5.xml"/><Relationship Id="rId7" Type="http://schemas.openxmlformats.org/officeDocument/2006/relationships/chart" Target="../charts/chart236.xml"/></Relationships>
</file>

<file path=ppt/slides/_rels/slide119.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7.xml"/><Relationship Id="rId7" Type="http://schemas.openxmlformats.org/officeDocument/2006/relationships/chart" Target="../charts/chart23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 Id="rId6" Type="http://schemas.openxmlformats.org/officeDocument/2006/relationships/chart" Target="../charts/chart24.xml"/></Relationships>
</file>

<file path=ppt/slides/_rels/slide120.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9.xml"/><Relationship Id="rId7" Type="http://schemas.openxmlformats.org/officeDocument/2006/relationships/chart" Target="../charts/chart240.xml"/></Relationships>
</file>

<file path=ppt/slides/_rels/slide121.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1.xml"/><Relationship Id="rId7" Type="http://schemas.openxmlformats.org/officeDocument/2006/relationships/chart" Target="../charts/chart242.xml"/></Relationships>
</file>

<file path=ppt/slides/_rels/slide122.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3.xml"/><Relationship Id="rId7" Type="http://schemas.openxmlformats.org/officeDocument/2006/relationships/chart" Target="../charts/chart244.xml"/></Relationships>
</file>

<file path=ppt/slides/_rels/slide123.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5.xml"/><Relationship Id="rId7" Type="http://schemas.openxmlformats.org/officeDocument/2006/relationships/chart" Target="../charts/chart246.xml"/></Relationships>
</file>

<file path=ppt/slides/_rels/slide124.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7.xml"/><Relationship Id="rId7" Type="http://schemas.openxmlformats.org/officeDocument/2006/relationships/chart" Target="../charts/chart248.xml"/></Relationships>
</file>

<file path=ppt/slides/_rels/slide125.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9.xml"/><Relationship Id="rId7" Type="http://schemas.openxmlformats.org/officeDocument/2006/relationships/chart" Target="../charts/chart250.xml"/></Relationships>
</file>

<file path=ppt/slides/_rels/slide126.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1.xml"/><Relationship Id="rId7" Type="http://schemas.openxmlformats.org/officeDocument/2006/relationships/chart" Target="../charts/chart252.xml"/></Relationships>
</file>

<file path=ppt/slides/_rels/slide127.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3.xml"/><Relationship Id="rId7" Type="http://schemas.openxmlformats.org/officeDocument/2006/relationships/chart" Target="../charts/chart254.xml"/></Relationships>
</file>

<file path=ppt/slides/_rels/slide128.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5.xml"/><Relationship Id="rId7" Type="http://schemas.openxmlformats.org/officeDocument/2006/relationships/chart" Target="../charts/chart256.xml"/></Relationships>
</file>

<file path=ppt/slides/_rels/slide129.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7.xml"/><Relationship Id="rId7" Type="http://schemas.openxmlformats.org/officeDocument/2006/relationships/chart" Target="../charts/chart258.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 Id="rId6" Type="http://schemas.openxmlformats.org/officeDocument/2006/relationships/chart" Target="../charts/chart26.xml"/></Relationships>
</file>

<file path=ppt/slides/_rels/slide130.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9.xml"/><Relationship Id="rId7" Type="http://schemas.openxmlformats.org/officeDocument/2006/relationships/chart" Target="../charts/chart260.xml"/></Relationships>
</file>

<file path=ppt/slides/_rels/slide131.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1.xml"/><Relationship Id="rId7" Type="http://schemas.openxmlformats.org/officeDocument/2006/relationships/chart" Target="../charts/chart262.xml"/></Relationships>
</file>

<file path=ppt/slides/_rels/slide132.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3.xml"/><Relationship Id="rId7" Type="http://schemas.openxmlformats.org/officeDocument/2006/relationships/chart" Target="../charts/chart264.xml"/></Relationships>
</file>

<file path=ppt/slides/_rels/slide133.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5.xml"/><Relationship Id="rId7" Type="http://schemas.openxmlformats.org/officeDocument/2006/relationships/chart" Target="../charts/chart266.xml"/></Relationships>
</file>

<file path=ppt/slides/_rels/slide134.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7.xml"/><Relationship Id="rId7" Type="http://schemas.openxmlformats.org/officeDocument/2006/relationships/chart" Target="../charts/chart268.xml"/></Relationships>
</file>

<file path=ppt/slides/_rels/slide135.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9.xml"/><Relationship Id="rId7" Type="http://schemas.openxmlformats.org/officeDocument/2006/relationships/chart" Target="../charts/chart270.xml"/></Relationships>
</file>

<file path=ppt/slides/_rels/slide136.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1.xml"/><Relationship Id="rId7" Type="http://schemas.openxmlformats.org/officeDocument/2006/relationships/chart" Target="../charts/chart272.xml"/></Relationships>
</file>

<file path=ppt/slides/_rels/slide137.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3.xml"/><Relationship Id="rId7" Type="http://schemas.openxmlformats.org/officeDocument/2006/relationships/chart" Target="../charts/chart274.xml"/></Relationships>
</file>

<file path=ppt/slides/_rels/slide138.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5.xml"/><Relationship Id="rId7" Type="http://schemas.openxmlformats.org/officeDocument/2006/relationships/chart" Target="../charts/chart276.xml"/></Relationships>
</file>

<file path=ppt/slides/_rels/slide139.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7.xml"/><Relationship Id="rId7" Type="http://schemas.openxmlformats.org/officeDocument/2006/relationships/chart" Target="../charts/chart278.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s>
</file>

<file path=ppt/slides/_rels/slide140.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9.xml"/><Relationship Id="rId7" Type="http://schemas.openxmlformats.org/officeDocument/2006/relationships/chart" Target="../charts/chart280.xml"/></Relationships>
</file>

<file path=ppt/slides/_rels/slide141.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81.xml"/><Relationship Id="rId7" Type="http://schemas.openxmlformats.org/officeDocument/2006/relationships/chart" Target="../charts/chart282.xml"/></Relationships>
</file>

<file path=ppt/slides/_rels/slide142.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83.xml"/><Relationship Id="rId7" Type="http://schemas.openxmlformats.org/officeDocument/2006/relationships/chart" Target="../charts/chart284.xml"/></Relationships>
</file>

<file path=ppt/slides/_rels/slide143.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85.xml"/><Relationship Id="rId7" Type="http://schemas.openxmlformats.org/officeDocument/2006/relationships/chart" Target="../charts/chart286.xml"/></Relationships>
</file>

<file path=ppt/slides/_rels/slide144.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87.xml"/><Relationship Id="rId7" Type="http://schemas.openxmlformats.org/officeDocument/2006/relationships/chart" Target="../charts/chart288.xml"/></Relationships>
</file>

<file path=ppt/slides/_rels/slide145.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89.xml"/><Relationship Id="rId7" Type="http://schemas.openxmlformats.org/officeDocument/2006/relationships/chart" Target="../charts/chart290.xml"/></Relationships>
</file>

<file path=ppt/slides/_rels/slide146.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91.xml"/><Relationship Id="rId7" Type="http://schemas.openxmlformats.org/officeDocument/2006/relationships/chart" Target="../charts/chart292.xml"/></Relationships>
</file>

<file path=ppt/slides/_rels/slide147.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93.xml"/><Relationship Id="rId7" Type="http://schemas.openxmlformats.org/officeDocument/2006/relationships/chart" Target="../charts/chart294.xml"/></Relationships>
</file>

<file path=ppt/slides/_rels/slide148.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95.xml"/><Relationship Id="rId7" Type="http://schemas.openxmlformats.org/officeDocument/2006/relationships/chart" Target="../charts/chart296.xml"/></Relationships>
</file>

<file path=ppt/slides/_rels/slide149.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97.xml"/><Relationship Id="rId7" Type="http://schemas.openxmlformats.org/officeDocument/2006/relationships/chart" Target="../charts/chart29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 Id="rId6" Type="http://schemas.openxmlformats.org/officeDocument/2006/relationships/chart" Target="../charts/chart30.xml"/></Relationships>
</file>

<file path=ppt/slides/_rels/slide150.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99.xml"/><Relationship Id="rId7" Type="http://schemas.openxmlformats.org/officeDocument/2006/relationships/chart" Target="../charts/chart300.xml"/></Relationships>
</file>

<file path=ppt/slides/_rels/slide151.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01.xml"/><Relationship Id="rId7" Type="http://schemas.openxmlformats.org/officeDocument/2006/relationships/chart" Target="../charts/chart302.xml"/></Relationships>
</file>

<file path=ppt/slides/_rels/slide152.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03.xml"/><Relationship Id="rId7" Type="http://schemas.openxmlformats.org/officeDocument/2006/relationships/chart" Target="../charts/chart304.xml"/></Relationships>
</file>

<file path=ppt/slides/_rels/slide153.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05.xml"/><Relationship Id="rId7" Type="http://schemas.openxmlformats.org/officeDocument/2006/relationships/chart" Target="../charts/chart306.xml"/></Relationships>
</file>

<file path=ppt/slides/_rels/slide154.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07.xml"/><Relationship Id="rId7" Type="http://schemas.openxmlformats.org/officeDocument/2006/relationships/chart" Target="../charts/chart308.xml"/></Relationships>
</file>

<file path=ppt/slides/_rels/slide155.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09.xml"/><Relationship Id="rId7" Type="http://schemas.openxmlformats.org/officeDocument/2006/relationships/chart" Target="../charts/chart310.xml"/></Relationships>
</file>

<file path=ppt/slides/_rels/slide156.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11.xml"/><Relationship Id="rId7" Type="http://schemas.openxmlformats.org/officeDocument/2006/relationships/chart" Target="../charts/chart312.xml"/></Relationships>
</file>

<file path=ppt/slides/_rels/slide157.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13.xml"/><Relationship Id="rId7" Type="http://schemas.openxmlformats.org/officeDocument/2006/relationships/chart" Target="../charts/chart314.xml"/></Relationships>
</file>

<file path=ppt/slides/_rels/slide158.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15.xml"/><Relationship Id="rId7" Type="http://schemas.openxmlformats.org/officeDocument/2006/relationships/chart" Target="../charts/chart316.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 Id="rId6"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 Id="rId6"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 Id="rId6" Type="http://schemas.openxmlformats.org/officeDocument/2006/relationships/chart" Target="../charts/chart3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 Id="rId6"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 Id="rId6" Type="http://schemas.openxmlformats.org/officeDocument/2006/relationships/chart" Target="../charts/chart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 Id="rId6" Type="http://schemas.openxmlformats.org/officeDocument/2006/relationships/chart" Target="../charts/chart4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 Id="rId6" Type="http://schemas.openxmlformats.org/officeDocument/2006/relationships/chart" Target="../charts/chart4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 Id="rId6" Type="http://schemas.openxmlformats.org/officeDocument/2006/relationships/chart" Target="../charts/chart4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 Id="rId6" Type="http://schemas.openxmlformats.org/officeDocument/2006/relationships/chart" Target="../charts/chart4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 Id="rId6" Type="http://schemas.openxmlformats.org/officeDocument/2006/relationships/chart" Target="../charts/chart5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 Id="rId6" Type="http://schemas.openxmlformats.org/officeDocument/2006/relationships/chart" Target="../charts/chart5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 Id="rId6" Type="http://schemas.openxmlformats.org/officeDocument/2006/relationships/chart" Target="../charts/chart5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 Id="rId6" Type="http://schemas.openxmlformats.org/officeDocument/2006/relationships/chart" Target="../charts/chart5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 Id="rId6" Type="http://schemas.openxmlformats.org/officeDocument/2006/relationships/chart" Target="../charts/chart5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 Id="rId6" Type="http://schemas.openxmlformats.org/officeDocument/2006/relationships/chart" Target="../charts/chart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 Id="rId6"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 Id="rId6" Type="http://schemas.openxmlformats.org/officeDocument/2006/relationships/chart" Target="../charts/chart6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 Id="rId6" Type="http://schemas.openxmlformats.org/officeDocument/2006/relationships/chart" Target="../charts/chart6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 Id="rId6" Type="http://schemas.openxmlformats.org/officeDocument/2006/relationships/chart" Target="../charts/chart6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 Id="rId6" Type="http://schemas.openxmlformats.org/officeDocument/2006/relationships/chart" Target="../charts/chart7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 Id="rId6" Type="http://schemas.openxmlformats.org/officeDocument/2006/relationships/chart" Target="../charts/chart7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 Id="rId6" Type="http://schemas.openxmlformats.org/officeDocument/2006/relationships/chart" Target="../charts/chart7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 Id="rId6" Type="http://schemas.openxmlformats.org/officeDocument/2006/relationships/chart" Target="../charts/chart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 Id="rId6" Type="http://schemas.openxmlformats.org/officeDocument/2006/relationships/chart" Target="../charts/chart7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 Id="rId6" Type="http://schemas.openxmlformats.org/officeDocument/2006/relationships/chart" Target="../charts/chart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 Id="rId6" Type="http://schemas.openxmlformats.org/officeDocument/2006/relationships/chart" Target="../charts/chart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 Id="rId6" Type="http://schemas.openxmlformats.org/officeDocument/2006/relationships/chart" Target="../charts/chart8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 Id="rId6" Type="http://schemas.openxmlformats.org/officeDocument/2006/relationships/chart" Target="../charts/chart8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 Id="rId6" Type="http://schemas.openxmlformats.org/officeDocument/2006/relationships/chart" Target="../charts/chart8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 Id="rId6" Type="http://schemas.openxmlformats.org/officeDocument/2006/relationships/chart" Target="../charts/chart8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 Id="rId6" Type="http://schemas.openxmlformats.org/officeDocument/2006/relationships/chart" Target="../charts/chart9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91.xml"/><Relationship Id="rId4" Type="http://schemas.openxmlformats.org/officeDocument/2006/relationships/chart" Target="../charts/chart9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93.xml"/><Relationship Id="rId4" Type="http://schemas.openxmlformats.org/officeDocument/2006/relationships/chart" Target="../charts/chart9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95.xml"/><Relationship Id="rId4" Type="http://schemas.openxmlformats.org/officeDocument/2006/relationships/chart" Target="../charts/chart9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97.xml"/><Relationship Id="rId4" Type="http://schemas.openxmlformats.org/officeDocument/2006/relationships/chart" Target="../charts/chart9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 Id="rId6" Type="http://schemas.openxmlformats.org/officeDocument/2006/relationships/chart" Target="../charts/char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chart" Target="../charts/chart99.xml"/><Relationship Id="rId4" Type="http://schemas.openxmlformats.org/officeDocument/2006/relationships/chart" Target="../charts/chart10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101.xml"/><Relationship Id="rId4" Type="http://schemas.openxmlformats.org/officeDocument/2006/relationships/chart" Target="../charts/chart10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chart" Target="../charts/chart103.xml"/><Relationship Id="rId4" Type="http://schemas.openxmlformats.org/officeDocument/2006/relationships/chart" Target="../charts/chart10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105.xml"/><Relationship Id="rId4" Type="http://schemas.openxmlformats.org/officeDocument/2006/relationships/chart" Target="../charts/chart10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107.xml"/><Relationship Id="rId4" Type="http://schemas.openxmlformats.org/officeDocument/2006/relationships/chart" Target="../charts/chart10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109.xml"/><Relationship Id="rId4" Type="http://schemas.openxmlformats.org/officeDocument/2006/relationships/chart" Target="../charts/chart1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111.xml"/><Relationship Id="rId4" Type="http://schemas.openxmlformats.org/officeDocument/2006/relationships/chart" Target="../charts/chart1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113.xml"/><Relationship Id="rId4" Type="http://schemas.openxmlformats.org/officeDocument/2006/relationships/chart" Target="../charts/chart1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chart" Target="../charts/chart115.xml"/><Relationship Id="rId4" Type="http://schemas.openxmlformats.org/officeDocument/2006/relationships/chart" Target="../charts/chart11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117.xml"/><Relationship Id="rId4" Type="http://schemas.openxmlformats.org/officeDocument/2006/relationships/chart" Target="../charts/chart11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chart" Target="../charts/chart119.xml"/><Relationship Id="rId4" Type="http://schemas.openxmlformats.org/officeDocument/2006/relationships/chart" Target="../charts/chart1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chart" Target="../charts/chart121.xml"/><Relationship Id="rId4" Type="http://schemas.openxmlformats.org/officeDocument/2006/relationships/chart" Target="../charts/chart12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123.xml"/><Relationship Id="rId4" Type="http://schemas.openxmlformats.org/officeDocument/2006/relationships/chart" Target="../charts/chart12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chart" Target="../charts/chart125.xml"/><Relationship Id="rId4" Type="http://schemas.openxmlformats.org/officeDocument/2006/relationships/chart" Target="../charts/chart12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 Id="rId3" Type="http://schemas.openxmlformats.org/officeDocument/2006/relationships/chart" Target="../charts/chart127.xml"/><Relationship Id="rId4" Type="http://schemas.openxmlformats.org/officeDocument/2006/relationships/chart" Target="../charts/chart12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chart" Target="../charts/chart129.xml"/><Relationship Id="rId4" Type="http://schemas.openxmlformats.org/officeDocument/2006/relationships/chart" Target="../charts/chart13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chart" Target="../charts/chart131.xml"/><Relationship Id="rId4" Type="http://schemas.openxmlformats.org/officeDocument/2006/relationships/chart" Target="../charts/chart13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chart" Target="../charts/chart133.xml"/><Relationship Id="rId4" Type="http://schemas.openxmlformats.org/officeDocument/2006/relationships/chart" Target="../charts/chart13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chart" Target="../charts/chart135.xml"/><Relationship Id="rId4" Type="http://schemas.openxmlformats.org/officeDocument/2006/relationships/chart" Target="../charts/chart13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chart" Target="../charts/chart137.xml"/><Relationship Id="rId4" Type="http://schemas.openxmlformats.org/officeDocument/2006/relationships/chart" Target="../charts/chart13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 Id="rId6" Type="http://schemas.openxmlformats.org/officeDocument/2006/relationships/chart" Target="../charts/chart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139.xml"/><Relationship Id="rId4" Type="http://schemas.openxmlformats.org/officeDocument/2006/relationships/chart" Target="../charts/chart14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 Id="rId3" Type="http://schemas.openxmlformats.org/officeDocument/2006/relationships/chart" Target="../charts/chart141.xml"/><Relationship Id="rId4" Type="http://schemas.openxmlformats.org/officeDocument/2006/relationships/chart" Target="../charts/chart14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143.xml"/><Relationship Id="rId4" Type="http://schemas.openxmlformats.org/officeDocument/2006/relationships/chart" Target="../charts/chart14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145.xml"/><Relationship Id="rId4" Type="http://schemas.openxmlformats.org/officeDocument/2006/relationships/chart" Target="../charts/chart14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chart" Target="../charts/chart147.xml"/><Relationship Id="rId4" Type="http://schemas.openxmlformats.org/officeDocument/2006/relationships/chart" Target="../charts/chart14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chart" Target="../charts/chart149.xml"/><Relationship Id="rId4" Type="http://schemas.openxmlformats.org/officeDocument/2006/relationships/chart" Target="../charts/chart15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chart" Target="../charts/chart151.xml"/><Relationship Id="rId4" Type="http://schemas.openxmlformats.org/officeDocument/2006/relationships/chart" Target="../charts/chart15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153.xml"/><Relationship Id="rId4" Type="http://schemas.openxmlformats.org/officeDocument/2006/relationships/chart" Target="../charts/chart15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155.xml"/><Relationship Id="rId4" Type="http://schemas.openxmlformats.org/officeDocument/2006/relationships/chart" Target="../charts/chart15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157.xml"/><Relationship Id="rId4" Type="http://schemas.openxmlformats.org/officeDocument/2006/relationships/chart" Target="../charts/chart158.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 Id="rId6" Type="http://schemas.openxmlformats.org/officeDocument/2006/relationships/chart" Target="../charts/chart1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chart" Target="../charts/chart159.xml"/><Relationship Id="rId4" Type="http://schemas.openxmlformats.org/officeDocument/2006/relationships/chart" Target="../charts/chart160.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xml"/><Relationship Id="rId3" Type="http://schemas.openxmlformats.org/officeDocument/2006/relationships/chart" Target="../charts/chart161.xml"/><Relationship Id="rId4" Type="http://schemas.openxmlformats.org/officeDocument/2006/relationships/chart" Target="../charts/chart16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 Id="rId3" Type="http://schemas.openxmlformats.org/officeDocument/2006/relationships/chart" Target="../charts/chart163.xml"/><Relationship Id="rId4" Type="http://schemas.openxmlformats.org/officeDocument/2006/relationships/chart" Target="../charts/chart16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 Id="rId3" Type="http://schemas.openxmlformats.org/officeDocument/2006/relationships/chart" Target="../charts/chart165.xml"/><Relationship Id="rId4" Type="http://schemas.openxmlformats.org/officeDocument/2006/relationships/chart" Target="../charts/chart16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167.xml"/><Relationship Id="rId4" Type="http://schemas.openxmlformats.org/officeDocument/2006/relationships/chart" Target="../charts/chart16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169.xml"/><Relationship Id="rId4" Type="http://schemas.openxmlformats.org/officeDocument/2006/relationships/chart" Target="../charts/chart17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chart" Target="../charts/chart171.xml"/><Relationship Id="rId4" Type="http://schemas.openxmlformats.org/officeDocument/2006/relationships/chart" Target="../charts/chart17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xml"/><Relationship Id="rId3" Type="http://schemas.openxmlformats.org/officeDocument/2006/relationships/chart" Target="../charts/chart173.xml"/><Relationship Id="rId4" Type="http://schemas.openxmlformats.org/officeDocument/2006/relationships/chart" Target="../charts/chart1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chart" Target="../charts/chart175.xml"/><Relationship Id="rId4" Type="http://schemas.openxmlformats.org/officeDocument/2006/relationships/chart" Target="../charts/chart17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xml"/><Relationship Id="rId3" Type="http://schemas.openxmlformats.org/officeDocument/2006/relationships/chart" Target="../charts/chart177.xml"/><Relationship Id="rId4" Type="http://schemas.openxmlformats.org/officeDocument/2006/relationships/chart" Target="../charts/chart17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 Id="rId6" Type="http://schemas.openxmlformats.org/officeDocument/2006/relationships/chart" Target="../charts/chart1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xml"/><Relationship Id="rId3" Type="http://schemas.openxmlformats.org/officeDocument/2006/relationships/chart" Target="../charts/chart179.xml"/><Relationship Id="rId4" Type="http://schemas.openxmlformats.org/officeDocument/2006/relationships/chart" Target="../charts/chart180.xml"/></Relationships>
</file>

<file path=ppt/slides/_rels/slide91.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1.xml"/><Relationship Id="rId7" Type="http://schemas.openxmlformats.org/officeDocument/2006/relationships/chart" Target="../charts/chart182.xml"/></Relationships>
</file>

<file path=ppt/slides/_rels/slide92.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3.xml"/><Relationship Id="rId7" Type="http://schemas.openxmlformats.org/officeDocument/2006/relationships/chart" Target="../charts/chart184.xml"/></Relationships>
</file>

<file path=ppt/slides/_rels/slide93.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5.xml"/><Relationship Id="rId7" Type="http://schemas.openxmlformats.org/officeDocument/2006/relationships/chart" Target="../charts/chart186.xml"/></Relationships>
</file>

<file path=ppt/slides/_rels/slide94.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7.xml"/><Relationship Id="rId7" Type="http://schemas.openxmlformats.org/officeDocument/2006/relationships/chart" Target="../charts/chart188.xml"/></Relationships>
</file>

<file path=ppt/slides/_rels/slide95.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9.xml"/><Relationship Id="rId7" Type="http://schemas.openxmlformats.org/officeDocument/2006/relationships/chart" Target="../charts/chart190.xml"/></Relationships>
</file>

<file path=ppt/slides/_rels/slide96.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1.xml"/><Relationship Id="rId7" Type="http://schemas.openxmlformats.org/officeDocument/2006/relationships/chart" Target="../charts/chart192.xml"/></Relationships>
</file>

<file path=ppt/slides/_rels/slide97.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3.xml"/><Relationship Id="rId7" Type="http://schemas.openxmlformats.org/officeDocument/2006/relationships/chart" Target="../charts/chart194.xml"/></Relationships>
</file>

<file path=ppt/slides/_rels/slide98.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5.xml"/><Relationship Id="rId7" Type="http://schemas.openxmlformats.org/officeDocument/2006/relationships/chart" Target="../charts/chart196.xml"/></Relationships>
</file>

<file path=ppt/slides/_rels/slide99.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7.xml"/><Relationship Id="rId7" Type="http://schemas.openxmlformats.org/officeDocument/2006/relationships/chart" Target="../charts/chart1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 Car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9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6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6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3427528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screen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74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1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8384428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anana Boat | Canal Modern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8%</a:t>
                      </a:r>
                      <a:r>
                        <a:rPr sz="700">
                          <a:solidFill>
                            <a:srgbClr val="575555"/>
                          </a:solidFill>
                          <a:latin typeface="Nexa Book"/>
                        </a:rPr>
                        <a:t> | </a:t>
                      </a:r>
                      <a:r>
                        <a:rPr sz="700">
                          <a:solidFill>
                            <a:srgbClr val="C00000"/>
                          </a:solidFill>
                          <a:latin typeface="Nexa Book"/>
                        </a:rP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a:t>
                      </a:r>
                      <a:r>
                        <a:rPr sz="700">
                          <a:solidFill>
                            <a:srgbClr val="575555"/>
                          </a:solidFill>
                          <a:latin typeface="Nexa Book"/>
                        </a:rPr>
                        <a:t> | </a:t>
                      </a:r>
                      <a:r>
                        <a:rPr sz="700">
                          <a:solidFill>
                            <a:srgbClr val="C00000"/>
                          </a:solidFill>
                          <a:latin typeface="Nexa Book"/>
                        </a:rP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6.6%</a:t>
                      </a:r>
                      <a:r>
                        <a:rPr sz="700">
                          <a:solidFill>
                            <a:srgbClr val="575555"/>
                          </a:solidFill>
                          <a:latin typeface="Nexa Book"/>
                        </a:rPr>
                        <a:t> | </a:t>
                      </a:r>
                      <a:r>
                        <a:rPr sz="700">
                          <a:solidFill>
                            <a:srgbClr val="00A097"/>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7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8.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3.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74286545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eauty Care | Canal Modern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4%</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126.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3441318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Edgewell | Canal Modern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7.9%</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3%</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6%</a:t>
                      </a:r>
                      <a:r>
                        <a:rPr sz="700">
                          <a:solidFill>
                            <a:srgbClr val="575555"/>
                          </a:solidFill>
                          <a:latin typeface="Nexa Book"/>
                        </a:rPr>
                        <a:t> | </a:t>
                      </a:r>
                      <a:r>
                        <a:rPr sz="700">
                          <a:solidFill>
                            <a:srgbClr val="C00000"/>
                          </a:solidFill>
                          <a:latin typeface="Nexa Book"/>
                        </a:rP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4.0%</a:t>
                      </a:r>
                      <a:r>
                        <a:rPr sz="700">
                          <a:solidFill>
                            <a:srgbClr val="575555"/>
                          </a:solidFill>
                          <a:latin typeface="Nexa Book"/>
                        </a:rPr>
                        <a:t> | </a:t>
                      </a:r>
                      <a:r>
                        <a:rPr sz="700">
                          <a:solidFill>
                            <a:srgbClr val="00A097"/>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68.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4.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8.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49000359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Hawaiian Tropic | Canal Tradic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9%</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4%</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74.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77604198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anana Boat | Canal Tradic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4%</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44797189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eauty Care | Canal Tradic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1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95859372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Edgewell | Canal Tradic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C00000"/>
                          </a:solidFill>
                          <a:latin typeface="Nexa Book"/>
                        </a:rP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4%</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44.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72093415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Hawaiian Tropic | Autos Scanning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5.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1.0%</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7.1%</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1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2.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5.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05358091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anana Boat | Autos Scanning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3.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7%</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6%</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2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32.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18.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9.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27893453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eauty Care | Autos Scanning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8%</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025.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4198770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screen | Walmar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64797880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Edgewell | Autos Scanning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9.6%</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9.7%</a:t>
                      </a:r>
                      <a:r>
                        <a:rPr sz="700">
                          <a:solidFill>
                            <a:srgbClr val="575555"/>
                          </a:solidFill>
                          <a:latin typeface="Nexa Book"/>
                        </a:rPr>
                        <a:t> | </a:t>
                      </a:r>
                      <a:r>
                        <a:rPr sz="700">
                          <a:solidFill>
                            <a:srgbClr val="C00000"/>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6.6%</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42.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4.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18.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5.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72495368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Hawaiian Tropic | Walmart Supercenter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4.0%</a:t>
                      </a:r>
                      <a:r>
                        <a:rPr sz="700">
                          <a:solidFill>
                            <a:srgbClr val="575555"/>
                          </a:solidFill>
                          <a:latin typeface="Nexa Book"/>
                        </a:rPr>
                        <a:t> | </a:t>
                      </a:r>
                      <a:r>
                        <a:rPr sz="700">
                          <a:solidFill>
                            <a:srgbClr val="00A097"/>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5.8%</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2.0%</a:t>
                      </a:r>
                      <a:r>
                        <a:rPr sz="700">
                          <a:solidFill>
                            <a:srgbClr val="575555"/>
                          </a:solidFill>
                          <a:latin typeface="Nexa Book"/>
                        </a:rPr>
                        <a:t> | </a:t>
                      </a:r>
                      <a:r>
                        <a:rPr sz="700">
                          <a:solidFill>
                            <a:srgbClr val="C00000"/>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98.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5.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1.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88752321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anana Boat | Walmart Supercenter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3.4%</a:t>
                      </a:r>
                      <a:r>
                        <a:rPr sz="700">
                          <a:solidFill>
                            <a:srgbClr val="575555"/>
                          </a:solidFill>
                          <a:latin typeface="Nexa Book"/>
                        </a:rPr>
                        <a:t> | </a:t>
                      </a:r>
                      <a:r>
                        <a:rPr sz="700">
                          <a:solidFill>
                            <a:srgbClr val="C00000"/>
                          </a:solidFill>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2%</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8.0%</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4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3.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6.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42388060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eauty Care | Walmart Supercenter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6%</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013.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90072758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Edgewell | Walmart Supercenter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38.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2.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4903308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Hawaiian Tropic | Bodega Aurrer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1.2%</a:t>
                      </a:r>
                      <a:r>
                        <a:rPr sz="700">
                          <a:solidFill>
                            <a:srgbClr val="575555"/>
                          </a:solidFill>
                          <a:latin typeface="Nexa Book"/>
                        </a:rPr>
                        <a:t> | </a:t>
                      </a:r>
                      <a:r>
                        <a:rPr sz="700">
                          <a:solidFill>
                            <a:srgbClr val="00A097"/>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1.8%</a:t>
                      </a:r>
                      <a:r>
                        <a:rPr sz="700">
                          <a:solidFill>
                            <a:srgbClr val="575555"/>
                          </a:solidFill>
                          <a:latin typeface="Nexa Book"/>
                        </a:rPr>
                        <a:t> | </a:t>
                      </a:r>
                      <a:r>
                        <a:rPr sz="700">
                          <a:solidFill>
                            <a:srgbClr val="00A097"/>
                          </a:solidFill>
                          <a:latin typeface="Nexa Book"/>
                        </a:rPr>
                        <a:t>+2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4%</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5.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9.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45083189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anana Boat | Bodega Aurrer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4.5%</a:t>
                      </a:r>
                      <a:r>
                        <a:rPr sz="700">
                          <a:solidFill>
                            <a:srgbClr val="575555"/>
                          </a:solidFill>
                          <a:latin typeface="Nexa Book"/>
                        </a:rPr>
                        <a:t> | </a:t>
                      </a:r>
                      <a:r>
                        <a:rPr sz="700">
                          <a:solidFill>
                            <a:srgbClr val="C00000"/>
                          </a:solidFill>
                          <a:latin typeface="Nexa Book"/>
                        </a:rP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2%</a:t>
                      </a:r>
                      <a:r>
                        <a:rPr sz="700">
                          <a:solidFill>
                            <a:srgbClr val="575555"/>
                          </a:solidFill>
                          <a:latin typeface="Nexa Book"/>
                        </a:rPr>
                        <a:t> | </a:t>
                      </a:r>
                      <a:r>
                        <a:rPr sz="700">
                          <a:solidFill>
                            <a:srgbClr val="C00000"/>
                          </a:solidFill>
                          <a:latin typeface="Nexa Book"/>
                        </a:rPr>
                        <a:t>-2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9.6%</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3.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4.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7.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26310876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eauty Care | Bodega Aurrer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3%</a:t>
                      </a:r>
                      <a:r>
                        <a:rPr sz="700">
                          <a:solidFill>
                            <a:srgbClr val="575555"/>
                          </a:solidFill>
                          <a:latin typeface="Nexa Book"/>
                        </a:rPr>
                        <a:t> | </a:t>
                      </a:r>
                      <a:r>
                        <a:rPr sz="700">
                          <a:solidFill>
                            <a:srgbClr val="00A097"/>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291.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03140548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Edgewell | Bodega Aurrer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7.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0.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9.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75756011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Hawaiian Tropic | Walmart Expres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9.3%</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6.5%</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85.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9.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4.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952548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screen | Canal Modern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42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2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9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274426172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anana Boat | Walmart Expres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6.7%</a:t>
                      </a:r>
                      <a:r>
                        <a:rPr sz="700">
                          <a:solidFill>
                            <a:srgbClr val="575555"/>
                          </a:solidFill>
                          <a:latin typeface="Nexa Book"/>
                        </a:rPr>
                        <a:t> | </a:t>
                      </a:r>
                      <a:r>
                        <a:rPr sz="700">
                          <a:solidFill>
                            <a:srgbClr val="C00000"/>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5%</a:t>
                      </a:r>
                      <a:r>
                        <a:rPr sz="700">
                          <a:solidFill>
                            <a:srgbClr val="575555"/>
                          </a:solidFill>
                          <a:latin typeface="Nexa Book"/>
                        </a:rPr>
                        <a:t> | </a:t>
                      </a:r>
                      <a:r>
                        <a:rPr sz="700">
                          <a:solidFill>
                            <a:srgbClr val="00A097"/>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4.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8.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73821662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eauty Care | Walmart Expres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0%</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057.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23924037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Edgewell | Walmart Expres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98.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7.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4.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88284295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Hawaiian Tropic | Mi Bodeg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9.9%</a:t>
                      </a:r>
                      <a:r>
                        <a:rPr sz="700">
                          <a:solidFill>
                            <a:srgbClr val="575555"/>
                          </a:solidFill>
                          <a:latin typeface="Nexa Book"/>
                        </a:rPr>
                        <a:t> | </a:t>
                      </a:r>
                      <a:r>
                        <a:rPr sz="700">
                          <a:solidFill>
                            <a:srgbClr val="00A097"/>
                          </a:solidFill>
                          <a:latin typeface="Nexa Book"/>
                        </a:rP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2.5%</a:t>
                      </a:r>
                      <a:r>
                        <a:rPr sz="700">
                          <a:solidFill>
                            <a:srgbClr val="575555"/>
                          </a:solidFill>
                          <a:latin typeface="Nexa Book"/>
                        </a:rPr>
                        <a:t> | </a:t>
                      </a:r>
                      <a:r>
                        <a:rPr sz="700">
                          <a:solidFill>
                            <a:srgbClr val="00A097"/>
                          </a:solidFill>
                          <a:latin typeface="Nexa Book"/>
                        </a:rPr>
                        <a:t>+3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1.1%</a:t>
                      </a:r>
                      <a:r>
                        <a:rPr sz="700">
                          <a:solidFill>
                            <a:srgbClr val="575555"/>
                          </a:solidFill>
                          <a:latin typeface="Nexa Book"/>
                        </a:rPr>
                        <a:t> | </a:t>
                      </a:r>
                      <a:r>
                        <a:rPr sz="700">
                          <a:solidFill>
                            <a:srgbClr val="C00000"/>
                          </a:solidFill>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96.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7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414733020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anana Boat | Mi Bodeg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8.9%</a:t>
                      </a:r>
                      <a:r>
                        <a:rPr sz="700">
                          <a:solidFill>
                            <a:srgbClr val="575555"/>
                          </a:solidFill>
                          <a:latin typeface="Nexa Book"/>
                        </a:rPr>
                        <a:t> | </a:t>
                      </a:r>
                      <a:r>
                        <a:rPr sz="700">
                          <a:solidFill>
                            <a:srgbClr val="C00000"/>
                          </a:solidFill>
                          <a:latin typeface="Nexa Book"/>
                        </a:rP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5%</a:t>
                      </a:r>
                      <a:r>
                        <a:rPr sz="700">
                          <a:solidFill>
                            <a:srgbClr val="575555"/>
                          </a:solidFill>
                          <a:latin typeface="Nexa Book"/>
                        </a:rPr>
                        <a:t> | </a:t>
                      </a:r>
                      <a:r>
                        <a:rPr sz="700">
                          <a:solidFill>
                            <a:srgbClr val="C00000"/>
                          </a:solidFill>
                          <a:latin typeface="Nexa Book"/>
                        </a:rPr>
                        <a:t>-3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8.9%</a:t>
                      </a:r>
                      <a:r>
                        <a:rPr sz="700">
                          <a:solidFill>
                            <a:srgbClr val="575555"/>
                          </a:solidFill>
                          <a:latin typeface="Nexa Book"/>
                        </a:rPr>
                        <a:t> | </a:t>
                      </a:r>
                      <a:r>
                        <a:rPr sz="700">
                          <a:solidFill>
                            <a:srgbClr val="00A097"/>
                          </a:solidFill>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69.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75420984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eauty Care | Mi Bodeg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70.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419829382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Edgewell | Mi Bodeg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3.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24.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4111499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 Care | Hawaiian Tropi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4.4%</a:t>
                      </a:r>
                      <a:r>
                        <a:rPr sz="700">
                          <a:solidFill>
                            <a:srgbClr val="575555"/>
                          </a:solidFill>
                          <a:latin typeface="Nexa Book"/>
                        </a:rPr>
                        <a:t> | </a:t>
                      </a:r>
                      <a:r>
                        <a:rPr sz="700">
                          <a:solidFill>
                            <a:srgbClr val="00A097"/>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7.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3.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73000443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 Care | Banana Boa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2.8%</a:t>
                      </a:r>
                      <a:r>
                        <a:rPr sz="700">
                          <a:solidFill>
                            <a:srgbClr val="575555"/>
                          </a:solidFill>
                          <a:latin typeface="Nexa Book"/>
                        </a:rPr>
                        <a:t> | </a:t>
                      </a:r>
                      <a:r>
                        <a:rPr sz="700">
                          <a:solidFill>
                            <a:srgbClr val="C00000"/>
                          </a:solidFill>
                          <a:latin typeface="Nexa Book"/>
                        </a:rP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55.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7.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51681682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 Care | Beauty Ca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8%</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23.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0.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5961610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screen | Canal Tradic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25482752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 Care | Edgewel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7.8%</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82.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0.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57291513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screen | Hawaiian Tropi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3.9%</a:t>
                      </a:r>
                      <a:r>
                        <a:rPr sz="700">
                          <a:solidFill>
                            <a:srgbClr val="575555"/>
                          </a:solidFill>
                          <a:latin typeface="Nexa Book"/>
                        </a:rPr>
                        <a:t> | </a:t>
                      </a:r>
                      <a:r>
                        <a:rPr sz="700">
                          <a:solidFill>
                            <a:srgbClr val="00A097"/>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14.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24239713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screen | Banana Boa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7%</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1%</a:t>
                      </a:r>
                      <a:r>
                        <a:rPr sz="700">
                          <a:solidFill>
                            <a:srgbClr val="575555"/>
                          </a:solidFill>
                          <a:latin typeface="Nexa Book"/>
                        </a:rPr>
                        <a:t> | </a:t>
                      </a:r>
                      <a:r>
                        <a:rPr sz="700">
                          <a:solidFill>
                            <a:srgbClr val="C00000"/>
                          </a:solidFill>
                          <a:latin typeface="Nexa Book"/>
                        </a:rP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9.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1.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28312143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screen | Beauty Ca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0%</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23.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0.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14589157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screen | Edgewel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9%</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3.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56683520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 Care | Hawaiian Tropi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4.7%</a:t>
                      </a:r>
                      <a:r>
                        <a:rPr sz="700">
                          <a:solidFill>
                            <a:srgbClr val="575555"/>
                          </a:solidFill>
                          <a:latin typeface="Nexa Book"/>
                        </a:rPr>
                        <a:t> | </a:t>
                      </a:r>
                      <a:r>
                        <a:rPr sz="700">
                          <a:solidFill>
                            <a:srgbClr val="00A097"/>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0.8%</a:t>
                      </a:r>
                      <a:r>
                        <a:rPr sz="700">
                          <a:solidFill>
                            <a:srgbClr val="575555"/>
                          </a:solidFill>
                          <a:latin typeface="Nexa Book"/>
                        </a:rPr>
                        <a:t> | </a:t>
                      </a:r>
                      <a:r>
                        <a:rPr sz="700">
                          <a:solidFill>
                            <a:srgbClr val="00A097"/>
                          </a:solidFill>
                          <a:latin typeface="Nexa Book"/>
                        </a:rP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2.7%</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9.8%</a:t>
                      </a:r>
                      <a:r>
                        <a:rPr sz="700">
                          <a:solidFill>
                            <a:srgbClr val="575555"/>
                          </a:solidFill>
                          <a:latin typeface="Nexa Book"/>
                        </a:rPr>
                        <a:t> | </a:t>
                      </a:r>
                      <a:r>
                        <a:rPr sz="700">
                          <a:solidFill>
                            <a:srgbClr val="00A097"/>
                          </a:solidFill>
                          <a:latin typeface="Nexa Book"/>
                        </a:rP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7.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6.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5.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4.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7.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86380439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 Care | Banana Boa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2.9%</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5.1%</a:t>
                      </a:r>
                      <a:r>
                        <a:rPr sz="700">
                          <a:solidFill>
                            <a:srgbClr val="575555"/>
                          </a:solidFill>
                          <a:latin typeface="Nexa Book"/>
                        </a:rPr>
                        <a:t> | </a:t>
                      </a:r>
                      <a:r>
                        <a:rPr sz="700">
                          <a:solidFill>
                            <a:srgbClr val="C00000"/>
                          </a:solidFill>
                          <a:latin typeface="Nexa Book"/>
                        </a:rP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3.7%</a:t>
                      </a:r>
                      <a:r>
                        <a:rPr sz="700">
                          <a:solidFill>
                            <a:srgbClr val="575555"/>
                          </a:solidFill>
                          <a:latin typeface="Nexa Book"/>
                        </a:rPr>
                        <a:t> | </a:t>
                      </a:r>
                      <a:r>
                        <a:rPr sz="700">
                          <a:solidFill>
                            <a:srgbClr val="C00000"/>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9%</a:t>
                      </a:r>
                      <a:r>
                        <a:rPr sz="700">
                          <a:solidFill>
                            <a:srgbClr val="575555"/>
                          </a:solidFill>
                          <a:latin typeface="Nexa Book"/>
                        </a:rPr>
                        <a:t> | </a:t>
                      </a:r>
                      <a:r>
                        <a:rPr sz="700">
                          <a:solidFill>
                            <a:srgbClr val="C00000"/>
                          </a:solidFill>
                          <a:latin typeface="Nexa Book"/>
                        </a:rP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55.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3.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4.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5.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0.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52662778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 Care | Beauty Ca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1%</a:t>
                      </a:r>
                      <a:r>
                        <a:rPr sz="700">
                          <a:solidFill>
                            <a:srgbClr val="575555"/>
                          </a:solidFill>
                          <a:latin typeface="Nexa Book"/>
                        </a:rPr>
                        <a:t> | </a:t>
                      </a:r>
                      <a:r>
                        <a:rPr sz="700">
                          <a:solidFill>
                            <a:srgbClr val="00A097"/>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6%</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23.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13.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91.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57.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70.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09506857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 Care | Edgewel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7.8%</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82.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9.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4.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4.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12184553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screen | Hawaiian Tropi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4.0%</a:t>
                      </a:r>
                      <a:r>
                        <a:rPr sz="700">
                          <a:solidFill>
                            <a:srgbClr val="575555"/>
                          </a:solidFill>
                          <a:latin typeface="Nexa Book"/>
                        </a:rPr>
                        <a:t> | </a:t>
                      </a:r>
                      <a:r>
                        <a:rPr sz="700">
                          <a:solidFill>
                            <a:srgbClr val="00A097"/>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1.2%</a:t>
                      </a:r>
                      <a:r>
                        <a:rPr sz="700">
                          <a:solidFill>
                            <a:srgbClr val="575555"/>
                          </a:solidFill>
                          <a:latin typeface="Nexa Book"/>
                        </a:rPr>
                        <a:t> | </a:t>
                      </a:r>
                      <a:r>
                        <a:rPr sz="700">
                          <a:solidFill>
                            <a:srgbClr val="00A097"/>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9.9%</a:t>
                      </a:r>
                      <a:r>
                        <a:rPr sz="700">
                          <a:solidFill>
                            <a:srgbClr val="575555"/>
                          </a:solidFill>
                          <a:latin typeface="Nexa Book"/>
                        </a:rPr>
                        <a:t> | </a:t>
                      </a:r>
                      <a:r>
                        <a:rPr sz="700">
                          <a:solidFill>
                            <a:srgbClr val="00A097"/>
                          </a:solidFill>
                          <a:latin typeface="Nexa Book"/>
                        </a:rP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9.3%</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14.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8.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5.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6.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5.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8282285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screen | Autos Scanning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9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1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6931478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screen | Banana Boa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7%</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4%</a:t>
                      </a:r>
                      <a:r>
                        <a:rPr sz="700">
                          <a:solidFill>
                            <a:srgbClr val="575555"/>
                          </a:solidFill>
                          <a:latin typeface="Nexa Book"/>
                        </a:rPr>
                        <a:t> | </a:t>
                      </a:r>
                      <a:r>
                        <a:rPr sz="700">
                          <a:solidFill>
                            <a:srgbClr val="C00000"/>
                          </a:solidFill>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4.5%</a:t>
                      </a:r>
                      <a:r>
                        <a:rPr sz="700">
                          <a:solidFill>
                            <a:srgbClr val="575555"/>
                          </a:solidFill>
                          <a:latin typeface="Nexa Book"/>
                        </a:rPr>
                        <a:t> | </a:t>
                      </a:r>
                      <a:r>
                        <a:rPr sz="700">
                          <a:solidFill>
                            <a:srgbClr val="C00000"/>
                          </a:solidFill>
                          <a:latin typeface="Nexa Book"/>
                        </a:rP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9%</a:t>
                      </a:r>
                      <a:r>
                        <a:rPr sz="700">
                          <a:solidFill>
                            <a:srgbClr val="575555"/>
                          </a:solidFill>
                          <a:latin typeface="Nexa Book"/>
                        </a:rPr>
                        <a:t> | </a:t>
                      </a:r>
                      <a:r>
                        <a:rPr sz="700">
                          <a:solidFill>
                            <a:srgbClr val="C00000"/>
                          </a:solidFill>
                          <a:latin typeface="Nexa Book"/>
                        </a:rP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6.7%</a:t>
                      </a:r>
                      <a:r>
                        <a:rPr sz="700">
                          <a:solidFill>
                            <a:srgbClr val="575555"/>
                          </a:solidFill>
                          <a:latin typeface="Nexa Book"/>
                        </a:rPr>
                        <a:t> | </a:t>
                      </a:r>
                      <a:r>
                        <a:rPr sz="700">
                          <a:solidFill>
                            <a:srgbClr val="C00000"/>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9.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3.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9.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4.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415579396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screen | Beauty Ca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a:t>
                      </a:r>
                      <a:r>
                        <a:rPr sz="700">
                          <a:solidFill>
                            <a:srgbClr val="575555"/>
                          </a:solidFill>
                          <a:latin typeface="Nexa Book"/>
                        </a:rPr>
                        <a:t> | </a:t>
                      </a:r>
                      <a:r>
                        <a:rPr sz="700">
                          <a:solidFill>
                            <a:srgbClr val="00A097"/>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0%</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23.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13.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91.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70.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57.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7761670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unscreen | Edgewel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9%</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8.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7.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3.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8.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43993641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Sun Care | Hawaiian Tropi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2%</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7.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0.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3.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83000821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Sun Care | Banana Boa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5%</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55.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8.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1366629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Sun Care | Beauty Ca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23.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26.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425290451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Sun Care | Edgewel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7.8%</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8%</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5%</a:t>
                      </a:r>
                      <a:r>
                        <a:rPr sz="700">
                          <a:solidFill>
                            <a:srgbClr val="575555"/>
                          </a:solidFill>
                          <a:latin typeface="Nexa Book"/>
                        </a:rPr>
                        <a:t> | </a:t>
                      </a:r>
                      <a:r>
                        <a:rPr sz="700">
                          <a:solidFill>
                            <a:srgbClr val="C00000"/>
                          </a:solidFill>
                          <a:latin typeface="Nexa Book"/>
                        </a:rP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82.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6.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9.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88635050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Sunscreen | Hawaiian Tropi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9%</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14.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7.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4.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83700378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Sunscreen | Banana Boa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7%</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4%</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9.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99943397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Sunscreen | Beauty Ca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4%</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23.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26.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8823204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screen | Walmart Supercente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14496543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Sunscreen | Edgewel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9%</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9%</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C00000"/>
                          </a:solidFill>
                          <a:latin typeface="Nexa Book"/>
                        </a:rP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68.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4.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32600620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AUTOS SCANNING Value Sales &amp; Avg Price Per Kg | Sun Care | Hawaiian Tropi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AUTOS SCANNING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4%</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7.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4.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48734774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AUTOS SCANNING Value Sales &amp; Avg Price Per Kg | Sun Care | Banana Boa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AUTOS SCANNING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1%</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55.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3.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85367714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AUTOS SCANNING Value Sales &amp; Avg Price Per Kg | Sun Care | Beauty Ca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AUTOS SCANNING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8%</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23.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25.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03587292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AUTOS SCANNING Value Sales &amp; Avg Price Per Kg | Sun Care | Edgewel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AUTOS SCANNING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7.8%</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0.2%</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82.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5.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56600321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AUTOS SCANNING Value Sales &amp; Avg Price Per Kg | Sunscreen | Hawaiian Tropi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AUTOS SCANNING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14.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10667415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AUTOS SCANNING Value Sales &amp; Avg Price Per Kg | Sunscreen | Banana Boa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AUTOS SCANNING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7%</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9.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41278301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AUTOS SCANNING Value Sales &amp; Avg Price Per Kg | Sunscreen | Beauty Ca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AUTOS SCANNING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8%</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23.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25.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02404778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AUTOS SCANNING Value Sales &amp; Avg Price Per Kg | Sunscreen | Edgewel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AUTOS SCANNING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610204172"/>
                    </a:ext>
                  </a:extLst>
                </a:gridCol>
                <a:gridCol w="3730752">
                  <a:extLst>
                    <a:ext uri="{9D8B030D-6E8A-4147-A177-3AD203B41FA5}">
                      <a16:colId xmlns:a16="http://schemas.microsoft.com/office/drawing/2014/main" val="4106856681"/>
                    </a:ext>
                  </a:extLst>
                </a:gridCol>
                <a:gridCol w="373075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9%</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6%</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2.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841799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screen | Bodega Aurrer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516712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screen | Walmart Expres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799183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screen | Mi Bodeg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269299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 Car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9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6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6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28860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 Care | Walmar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6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814777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 Care | Walmar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6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7763260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 Care | Canal Modern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56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0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24541597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 Care | Canal Tradic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5620708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 Care | Autos Scanning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8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1659025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 Care | Walmart Supercente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7236336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 Care | Bodega Aurrer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41975083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 Care | Walmart Expres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7127139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 Care | Mi Bodeg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427787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screen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74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1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28771750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screen | Walmar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20963748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 Care | Canal Modern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56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0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3803780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screen | Canal Modern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42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2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9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27428035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screen | Canal Tradic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0103595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screen | Autos Scanning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9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1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6874246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screen | Walmart Supercente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5595411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screen | Bodega Aurrer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29740124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screen | Walmart Expres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1656767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unscreen | Mi Bodeg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829889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Sun Car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9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6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6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5505343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Sun Care | Walmar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6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2391151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Sun Care | Canal Modern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56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0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3670096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 Care | Canal Tradic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5671838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Sun Care | Canal Tradic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24726485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Sun Care | Autos Scanning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8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9289763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Sun Care | Walmart Supercente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6175530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Sun Care | Bodega Aurrer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41160685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Sun Care | Walmart Expres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5640061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Sun Care | Mi Bodeg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40497287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 Car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9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6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6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7069877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 Care | Walmar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8387461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 Care | Canal Modern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6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0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40417615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 Care | Canal Tradic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456694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 Care | Autos Scanning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8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32878678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 Care | Autos Scanning</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8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5215786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 Care | Walmart Supercente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9362194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 Care | Bodega Aurrer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4249134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 Care | Walmart Expres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3673787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 Care | Mi Bodeg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8983759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screen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4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1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4485651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screen | Walmar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980271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screen | Canal Modern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2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2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9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4173628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screen | Canal Tradic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6276948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screen | Autos Scanning</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1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272417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 Care | Walmart Supercente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4786433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screen | Walmart Supercente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9860722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screen | Bodega Aurrer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9755683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screen | Walmart Expres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5346118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unscreen | Mi Bodeg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80723369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 Car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9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6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6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6193129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 Care | Walmar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9349848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 Care | Canal Modern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6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0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40633270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 Care | Canal Tradic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42357675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 Care | Autos Scanning</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8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3966938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 Care | Walmart Supercente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9084863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 Care | Bodega Aurrer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58426867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 Care | Bodega Aurrer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5890698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 Care | Walmart Expres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945788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 Care | Mi Bodeg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1580452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screen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4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1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4863770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screen | Walmar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75857978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screen | Canal Modern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2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2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9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42314553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screen | Canal Tradic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5822929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screen | Autos Scanning</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1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7099562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screen | Walmart Supercente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74867938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screen | Bodega Aurrer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1854868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 Care | Walmart Expres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0714477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screen | Walmart Expres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35851437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unscreen | Mi Bodeg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4300346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Sun Car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9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6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6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6185233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Sun Care | Walmar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337760396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Sun Care | Canal Modern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6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0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171073680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Sun Care | Canal Tradic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40053393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Sun Care | Autos Scanning</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8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2319784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Sun Care | Walmart Supercente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6202571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Sun Care | Bodega Aurrer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85614479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Sun Care | Walmart Expres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0813018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un Care | Mi Bodeg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10/2025</a:t>
            </a:fld>
            <a:endParaRPr lang="en-US"/>
          </a:p>
        </p:txBody>
      </p:sp>
    </p:spTree>
    <p:extLst>
      <p:ext uri="{BB962C8B-B14F-4D97-AF65-F5344CB8AC3E}">
        <p14:creationId xmlns:p14="http://schemas.microsoft.com/office/powerpoint/2010/main" val="166279687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Sun Care | Mi Bodeg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10/2025</a:t>
            </a:fld>
            <a:endParaRPr lang="en-US"/>
          </a:p>
        </p:txBody>
      </p:sp>
    </p:spTree>
    <p:extLst>
      <p:ext uri="{BB962C8B-B14F-4D97-AF65-F5344CB8AC3E}">
        <p14:creationId xmlns:p14="http://schemas.microsoft.com/office/powerpoint/2010/main" val="250272885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Hawaiian Tropic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8.9%</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7%</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14.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0.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7.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7.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46441788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anana Boat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7%</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6%</a:t>
                      </a:r>
                      <a:r>
                        <a:rPr sz="700">
                          <a:solidFill>
                            <a:srgbClr val="575555"/>
                          </a:solidFill>
                          <a:latin typeface="Nexa Book"/>
                        </a:rPr>
                        <a:t> | </a:t>
                      </a:r>
                      <a:r>
                        <a:rPr sz="700">
                          <a:solidFill>
                            <a:srgbClr val="C00000"/>
                          </a:solidFill>
                          <a:latin typeface="Nexa Book"/>
                        </a:rP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a:t>
                      </a:r>
                      <a:r>
                        <a:rPr sz="700">
                          <a:solidFill>
                            <a:srgbClr val="575555"/>
                          </a:solidFill>
                          <a:latin typeface="Nexa Book"/>
                        </a:rPr>
                        <a:t> | </a:t>
                      </a:r>
                      <a:r>
                        <a:rPr sz="700">
                          <a:solidFill>
                            <a:srgbClr val="C00000"/>
                          </a:solidFill>
                          <a:latin typeface="Nexa Book"/>
                        </a:rP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4.4%</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9.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0.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60505958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eauty Care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23.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95274397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Edgewell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9%</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4%</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a:t>
                      </a:r>
                      <a:r>
                        <a:rPr sz="700">
                          <a:solidFill>
                            <a:srgbClr val="575555"/>
                          </a:solidFill>
                          <a:latin typeface="Nexa Book"/>
                        </a:rPr>
                        <a:t> | </a:t>
                      </a:r>
                      <a:r>
                        <a:rPr sz="700">
                          <a:solidFill>
                            <a:srgbClr val="C00000"/>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2.1%</a:t>
                      </a:r>
                      <a:r>
                        <a:rPr sz="700">
                          <a:solidFill>
                            <a:srgbClr val="575555"/>
                          </a:solidFill>
                          <a:latin typeface="Nexa Book"/>
                        </a:rPr>
                        <a:t> | </a:t>
                      </a:r>
                      <a:r>
                        <a:rPr sz="700">
                          <a:solidFill>
                            <a:srgbClr val="00A097"/>
                          </a:solidFill>
                          <a:latin typeface="Nexa Book"/>
                        </a:rP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5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4.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0.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8.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1352863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Hawaiian Tropic | Walmar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3.9%</a:t>
                      </a:r>
                      <a:r>
                        <a:rPr sz="700">
                          <a:solidFill>
                            <a:srgbClr val="575555"/>
                          </a:solidFill>
                          <a:latin typeface="Nexa Book"/>
                        </a:rPr>
                        <a:t> | </a:t>
                      </a:r>
                      <a:r>
                        <a:rPr sz="700">
                          <a:solidFill>
                            <a:srgbClr val="00A097"/>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8.6%</a:t>
                      </a:r>
                      <a:r>
                        <a:rPr sz="700">
                          <a:solidFill>
                            <a:srgbClr val="575555"/>
                          </a:solidFill>
                          <a:latin typeface="Nexa Book"/>
                        </a:rPr>
                        <a:t> | </a:t>
                      </a:r>
                      <a:r>
                        <a:rPr sz="700">
                          <a:solidFill>
                            <a:srgbClr val="00A097"/>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7.3%</a:t>
                      </a:r>
                      <a:r>
                        <a:rPr sz="700">
                          <a:solidFill>
                            <a:srgbClr val="575555"/>
                          </a:solidFill>
                          <a:latin typeface="Nexa Book"/>
                        </a:rPr>
                        <a:t> | </a:t>
                      </a:r>
                      <a:r>
                        <a:rPr sz="700">
                          <a:solidFill>
                            <a:srgbClr val="C00000"/>
                          </a:solidFill>
                          <a:latin typeface="Nexa Book"/>
                        </a:rP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6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0.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6.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13553914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anana Boat | Walmar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anana Boa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3.1%</a:t>
                      </a:r>
                      <a:r>
                        <a:rPr sz="700">
                          <a:solidFill>
                            <a:srgbClr val="575555"/>
                          </a:solidFill>
                          <a:latin typeface="Nexa Book"/>
                        </a:rPr>
                        <a:t> | </a:t>
                      </a:r>
                      <a:r>
                        <a:rPr sz="700">
                          <a:solidFill>
                            <a:srgbClr val="C00000"/>
                          </a:solidFill>
                          <a:latin typeface="Nexa Book"/>
                        </a:rP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4%</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2.7%</a:t>
                      </a:r>
                      <a:r>
                        <a:rPr sz="700">
                          <a:solidFill>
                            <a:srgbClr val="575555"/>
                          </a:solidFill>
                          <a:latin typeface="Nexa Book"/>
                        </a:rPr>
                        <a:t> | </a:t>
                      </a:r>
                      <a:r>
                        <a:rPr sz="700">
                          <a:solidFill>
                            <a:srgbClr val="00A097"/>
                          </a:solidFill>
                          <a:latin typeface="Nexa Book"/>
                        </a:rP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anana Boa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1.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10.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6.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34228085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Beauty Care | Walmar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auty Care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0%</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auty Care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270.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32525699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Edgewell | Walmar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Edgewel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Edgewel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83.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4.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4.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45768268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Sun Care | Hawaiian Tropic | Canal Modern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Hawaiian Tropic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8.5%</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4%</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Hawaiian Tropic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27.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9.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4.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0.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10/2025</a:t>
            </a:fld>
            <a:endParaRPr lang="en-US"/>
          </a:p>
        </p:txBody>
      </p:sp>
    </p:spTree>
    <p:extLst>
      <p:ext uri="{BB962C8B-B14F-4D97-AF65-F5344CB8AC3E}">
        <p14:creationId xmlns:p14="http://schemas.microsoft.com/office/powerpoint/2010/main" val="2078172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2.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297</TotalTime>
  <Words>14239</Words>
  <Application>Microsoft Office PowerPoint</Application>
  <PresentationFormat>On-screen Show (16:9)</PresentationFormat>
  <Paragraphs>4364</Paragraphs>
  <Slides>158</Slides>
  <Notes>1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8</vt:i4>
      </vt:variant>
    </vt:vector>
  </HeadingPairs>
  <TitlesOfParts>
    <vt:vector size="167" baseType="lpstr">
      <vt:lpstr>Aptos</vt:lpstr>
      <vt:lpstr>Arial</vt:lpstr>
      <vt:lpstr>Nexa</vt:lpstr>
      <vt:lpstr>Nexa Bold</vt:lpstr>
      <vt:lpstr>Nexa Book</vt:lpstr>
      <vt:lpstr>Nexa Book Italic</vt:lpstr>
      <vt:lpstr>Open Sans</vt:lpstr>
      <vt:lpstr>PricingOne Light Template Oct 2024</vt:lpstr>
      <vt:lpstr>think-cell Slide</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33</cp:revision>
  <dcterms:created xsi:type="dcterms:W3CDTF">2024-07-05T07:54:38Z</dcterms:created>
  <dcterms:modified xsi:type="dcterms:W3CDTF">2025-08-10T08:4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